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828" r:id="rId2"/>
  </p:sldMasterIdLst>
  <p:notesMasterIdLst>
    <p:notesMasterId r:id="rId7"/>
  </p:notesMasterIdLst>
  <p:sldIdLst>
    <p:sldId id="2205" r:id="rId3"/>
    <p:sldId id="2204" r:id="rId4"/>
    <p:sldId id="1914" r:id="rId5"/>
    <p:sldId id="338" r:id="rId6"/>
  </p:sldIdLst>
  <p:sldSz cx="18288000" cy="10287000"/>
  <p:notesSz cx="6858000" cy="9144000"/>
  <p:embeddedFontLst>
    <p:embeddedFont>
      <p:font typeface="Libre Franklin" pitchFamily="2" charset="0"/>
      <p:regular r:id="rId8"/>
      <p:bold r:id="rId9"/>
      <p:italic r:id="rId10"/>
      <p:boldItalic r:id="rId11"/>
    </p:embeddedFont>
    <p:embeddedFont>
      <p:font typeface="Open Sans" panose="020B0606030504020204" pitchFamily="34" charset="0"/>
      <p:regular r:id="rId12"/>
      <p:bold r:id="rId13"/>
      <p:italic r:id="rId14"/>
      <p:boldItalic r:id="rId15"/>
    </p:embeddedFont>
    <p:embeddedFont>
      <p:font typeface="Poppins ExtraBold" panose="00000900000000000000" pitchFamily="2" charset="0"/>
      <p:bold r:id="rId16"/>
      <p:boldItalic r:id="rId17"/>
    </p:embeddedFont>
    <p:embeddedFont>
      <p:font typeface="Raleway Black" pitchFamily="2" charset="0"/>
      <p:bold r:id="rId18"/>
      <p:boldItalic r:id="rId19"/>
    </p:embeddedFont>
    <p:embeddedFont>
      <p:font typeface="Titillium Web" panose="00000500000000000000" pitchFamily="2" charset="0"/>
      <p:regular r:id="rId20"/>
      <p:bold r:id="rId21"/>
      <p:italic r:id="rId22"/>
      <p:boldItalic r:id="rId23"/>
    </p:embeddedFont>
    <p:embeddedFont>
      <p:font typeface="Titillium Web Bold" panose="00000800000000000000" charset="0"/>
      <p:regular r:id="rId24"/>
      <p:bold r:id="rId25"/>
    </p:embeddedFont>
  </p:embeddedFontLst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0922F377-9988-4F37-82A8-C652F19847C6}">
          <p14:sldIdLst>
            <p14:sldId id="2205"/>
            <p14:sldId id="2204"/>
            <p14:sldId id="1914"/>
            <p14:sldId id="33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0000"/>
    <a:srgbClr val="1395FB"/>
    <a:srgbClr val="023D6B"/>
    <a:srgbClr val="37AADC"/>
    <a:srgbClr val="B4C800"/>
    <a:srgbClr val="FFFFFF"/>
    <a:srgbClr val="AFDDF1"/>
    <a:srgbClr val="79F5FF"/>
    <a:srgbClr val="F9FF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3B14FD8-A78B-41AE-80C9-362F1C9C9C40}" v="299" dt="2025-08-21T10:50:01.965"/>
    <p1510:client id="{9DD1F36D-C7B4-4854-8DA3-DF51EDD7316B}" v="743" dt="2025-08-20T15:07:57.01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466" autoAdjust="0"/>
    <p:restoredTop sz="93074" autoAdjust="0"/>
  </p:normalViewPr>
  <p:slideViewPr>
    <p:cSldViewPr>
      <p:cViewPr varScale="1">
        <p:scale>
          <a:sx n="73" d="100"/>
          <a:sy n="73" d="100"/>
        </p:scale>
        <p:origin x="114" y="1110"/>
      </p:cViewPr>
      <p:guideLst>
        <p:guide orient="horz" pos="2136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font" Target="fonts/font14.fntdata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5" Type="http://schemas.openxmlformats.org/officeDocument/2006/relationships/font" Target="fonts/font18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9.fntdata"/><Relationship Id="rId20" Type="http://schemas.openxmlformats.org/officeDocument/2006/relationships/font" Target="fonts/font13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4.fntdata"/><Relationship Id="rId24" Type="http://schemas.openxmlformats.org/officeDocument/2006/relationships/font" Target="fonts/font17.fntdata"/><Relationship Id="rId32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font" Target="fonts/font8.fntdata"/><Relationship Id="rId23" Type="http://schemas.openxmlformats.org/officeDocument/2006/relationships/font" Target="fonts/font16.fntdata"/><Relationship Id="rId28" Type="http://schemas.openxmlformats.org/officeDocument/2006/relationships/viewProps" Target="viewProps.xml"/><Relationship Id="rId10" Type="http://schemas.openxmlformats.org/officeDocument/2006/relationships/font" Target="fonts/font3.fntdata"/><Relationship Id="rId19" Type="http://schemas.openxmlformats.org/officeDocument/2006/relationships/font" Target="fonts/font12.fntdata"/><Relationship Id="rId31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font" Target="fonts/font15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kesh Chugani" userId="9c759398cfaae00f" providerId="LiveId" clId="{247D1286-C692-4091-8A31-A44B33DAA72B}"/>
    <pc:docChg chg="undo custSel delSld modSld delMainMaster modSection">
      <pc:chgData name="Vikesh Chugani" userId="9c759398cfaae00f" providerId="LiveId" clId="{247D1286-C692-4091-8A31-A44B33DAA72B}" dt="2024-08-22T12:54:04.977" v="2131" actId="20577"/>
      <pc:docMkLst>
        <pc:docMk/>
      </pc:docMkLst>
      <pc:sldChg chg="modNotesTx">
        <pc:chgData name="Vikesh Chugani" userId="9c759398cfaae00f" providerId="LiveId" clId="{247D1286-C692-4091-8A31-A44B33DAA72B}" dt="2024-08-21T07:42:34.090" v="2029" actId="20577"/>
        <pc:sldMkLst>
          <pc:docMk/>
          <pc:sldMk cId="0" sldId="256"/>
        </pc:sldMkLst>
      </pc:sldChg>
      <pc:sldChg chg="del">
        <pc:chgData name="Vikesh Chugani" userId="9c759398cfaae00f" providerId="LiveId" clId="{247D1286-C692-4091-8A31-A44B33DAA72B}" dt="2024-08-19T11:48:24.918" v="0" actId="47"/>
        <pc:sldMkLst>
          <pc:docMk/>
          <pc:sldMk cId="0" sldId="306"/>
        </pc:sldMkLst>
      </pc:sldChg>
      <pc:sldChg chg="modNotesTx">
        <pc:chgData name="Vikesh Chugani" userId="9c759398cfaae00f" providerId="LiveId" clId="{247D1286-C692-4091-8A31-A44B33DAA72B}" dt="2024-08-20T08:53:04.165" v="260" actId="20577"/>
        <pc:sldMkLst>
          <pc:docMk/>
          <pc:sldMk cId="0" sldId="307"/>
        </pc:sldMkLst>
      </pc:sldChg>
      <pc:sldChg chg="del">
        <pc:chgData name="Vikesh Chugani" userId="9c759398cfaae00f" providerId="LiveId" clId="{247D1286-C692-4091-8A31-A44B33DAA72B}" dt="2024-08-19T11:48:26.969" v="1" actId="47"/>
        <pc:sldMkLst>
          <pc:docMk/>
          <pc:sldMk cId="0" sldId="308"/>
        </pc:sldMkLst>
      </pc:sldChg>
      <pc:sldChg chg="modNotesTx">
        <pc:chgData name="Vikesh Chugani" userId="9c759398cfaae00f" providerId="LiveId" clId="{247D1286-C692-4091-8A31-A44B33DAA72B}" dt="2024-08-20T08:55:19.080" v="264" actId="20577"/>
        <pc:sldMkLst>
          <pc:docMk/>
          <pc:sldMk cId="0" sldId="309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0" sldId="310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0" sldId="311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0" sldId="312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0" sldId="313"/>
        </pc:sldMkLst>
      </pc:sldChg>
      <pc:sldChg chg="modSp mod">
        <pc:chgData name="Vikesh Chugani" userId="9c759398cfaae00f" providerId="LiveId" clId="{247D1286-C692-4091-8A31-A44B33DAA72B}" dt="2024-08-22T12:54:04.977" v="2131" actId="20577"/>
        <pc:sldMkLst>
          <pc:docMk/>
          <pc:sldMk cId="3126494913" sldId="319"/>
        </pc:sldMkLst>
      </pc:sldChg>
      <pc:sldChg chg="addSp delSp modSp mod">
        <pc:chgData name="Vikesh Chugani" userId="9c759398cfaae00f" providerId="LiveId" clId="{247D1286-C692-4091-8A31-A44B33DAA72B}" dt="2024-08-20T09:20:30.401" v="2027" actId="1035"/>
        <pc:sldMkLst>
          <pc:docMk/>
          <pc:sldMk cId="1775406622" sldId="359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2706074010" sldId="461"/>
        </pc:sldMkLst>
      </pc:sldChg>
      <pc:sldChg chg="modNotesTx">
        <pc:chgData name="Vikesh Chugani" userId="9c759398cfaae00f" providerId="LiveId" clId="{247D1286-C692-4091-8A31-A44B33DAA72B}" dt="2024-08-20T07:33:22.836" v="83" actId="113"/>
        <pc:sldMkLst>
          <pc:docMk/>
          <pc:sldMk cId="1997537558" sldId="514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1148439823" sldId="557"/>
        </pc:sldMkLst>
      </pc:sldChg>
      <pc:sldChg chg="modSp mod">
        <pc:chgData name="Vikesh Chugani" userId="9c759398cfaae00f" providerId="LiveId" clId="{247D1286-C692-4091-8A31-A44B33DAA72B}" dt="2024-08-20T09:19:10.071" v="2021" actId="20577"/>
        <pc:sldMkLst>
          <pc:docMk/>
          <pc:sldMk cId="3399892931" sldId="568"/>
        </pc:sldMkLst>
      </pc:sldChg>
      <pc:sldChg chg="modNotesTx">
        <pc:chgData name="Vikesh Chugani" userId="9c759398cfaae00f" providerId="LiveId" clId="{247D1286-C692-4091-8A31-A44B33DAA72B}" dt="2024-08-20T07:28:52.408" v="31" actId="20577"/>
        <pc:sldMkLst>
          <pc:docMk/>
          <pc:sldMk cId="1171548870" sldId="576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492950247" sldId="1442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4055912385" sldId="1462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2902647541" sldId="1473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158770865" sldId="1476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3213568042" sldId="1477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601220448" sldId="1478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4022447760" sldId="1690"/>
        </pc:sldMkLst>
      </pc:sldChg>
      <pc:sldChg chg="modNotesTx">
        <pc:chgData name="Vikesh Chugani" userId="9c759398cfaae00f" providerId="LiveId" clId="{247D1286-C692-4091-8A31-A44B33DAA72B}" dt="2024-08-20T09:05:41.377" v="815" actId="20577"/>
        <pc:sldMkLst>
          <pc:docMk/>
          <pc:sldMk cId="759465604" sldId="1693"/>
        </pc:sldMkLst>
      </pc:sldChg>
      <pc:sldChg chg="modNotesTx">
        <pc:chgData name="Vikesh Chugani" userId="9c759398cfaae00f" providerId="LiveId" clId="{247D1286-C692-4091-8A31-A44B33DAA72B}" dt="2024-08-20T09:11:16.656" v="1613" actId="20577"/>
        <pc:sldMkLst>
          <pc:docMk/>
          <pc:sldMk cId="2564190797" sldId="1694"/>
        </pc:sldMkLst>
      </pc:sldChg>
      <pc:sldChg chg="modNotesTx">
        <pc:chgData name="Vikesh Chugani" userId="9c759398cfaae00f" providerId="LiveId" clId="{247D1286-C692-4091-8A31-A44B33DAA72B}" dt="2024-08-20T09:12:24.237" v="1751" actId="20577"/>
        <pc:sldMkLst>
          <pc:docMk/>
          <pc:sldMk cId="3983337660" sldId="1695"/>
        </pc:sldMkLst>
      </pc:sldChg>
      <pc:sldChg chg="modNotesTx">
        <pc:chgData name="Vikesh Chugani" userId="9c759398cfaae00f" providerId="LiveId" clId="{247D1286-C692-4091-8A31-A44B33DAA72B}" dt="2024-08-20T09:07:18.159" v="1006" actId="20577"/>
        <pc:sldMkLst>
          <pc:docMk/>
          <pc:sldMk cId="2509261614" sldId="1699"/>
        </pc:sldMkLst>
      </pc:sldChg>
      <pc:sldChg chg="modNotesTx">
        <pc:chgData name="Vikesh Chugani" userId="9c759398cfaae00f" providerId="LiveId" clId="{247D1286-C692-4091-8A31-A44B33DAA72B}" dt="2024-08-21T08:26:28.820" v="2125" actId="113"/>
        <pc:sldMkLst>
          <pc:docMk/>
          <pc:sldMk cId="2964524841" sldId="1700"/>
        </pc:sldMkLst>
      </pc:sldChg>
      <pc:sldChg chg="modNotesTx">
        <pc:chgData name="Vikesh Chugani" userId="9c759398cfaae00f" providerId="LiveId" clId="{247D1286-C692-4091-8A31-A44B33DAA72B}" dt="2024-08-20T07:37:34.744" v="86" actId="20577"/>
        <pc:sldMkLst>
          <pc:docMk/>
          <pc:sldMk cId="2153535519" sldId="1856"/>
        </pc:sldMkLst>
      </pc:sldChg>
      <pc:sldChg chg="modNotesTx">
        <pc:chgData name="Vikesh Chugani" userId="9c759398cfaae00f" providerId="LiveId" clId="{247D1286-C692-4091-8A31-A44B33DAA72B}" dt="2024-08-20T07:19:17.133" v="4" actId="20577"/>
        <pc:sldMkLst>
          <pc:docMk/>
          <pc:sldMk cId="1138289792" sldId="1858"/>
        </pc:sldMkLst>
      </pc:sldChg>
      <pc:sldChg chg="modNotesTx">
        <pc:chgData name="Vikesh Chugani" userId="9c759398cfaae00f" providerId="LiveId" clId="{247D1286-C692-4091-8A31-A44B33DAA72B}" dt="2024-08-21T08:17:08.736" v="2060" actId="20577"/>
        <pc:sldMkLst>
          <pc:docMk/>
          <pc:sldMk cId="3831877885" sldId="1859"/>
        </pc:sldMkLst>
      </pc:sldChg>
      <pc:sldChg chg="modNotesTx">
        <pc:chgData name="Vikesh Chugani" userId="9c759398cfaae00f" providerId="LiveId" clId="{247D1286-C692-4091-8A31-A44B33DAA72B}" dt="2024-08-20T07:47:26.784" v="138" actId="20577"/>
        <pc:sldMkLst>
          <pc:docMk/>
          <pc:sldMk cId="214491966" sldId="1864"/>
        </pc:sldMkLst>
      </pc:sldChg>
      <pc:sldChg chg="modNotesTx">
        <pc:chgData name="Vikesh Chugani" userId="9c759398cfaae00f" providerId="LiveId" clId="{247D1286-C692-4091-8A31-A44B33DAA72B}" dt="2024-08-21T08:19:47.123" v="2122" actId="20577"/>
        <pc:sldMkLst>
          <pc:docMk/>
          <pc:sldMk cId="1353234795" sldId="1866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1333497614" sldId="1874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1344727080" sldId="1883"/>
        </pc:sldMkLst>
      </pc:sldChg>
      <pc:sldChg chg="modNotesTx">
        <pc:chgData name="Vikesh Chugani" userId="9c759398cfaae00f" providerId="LiveId" clId="{247D1286-C692-4091-8A31-A44B33DAA72B}" dt="2024-08-20T09:03:12.029" v="789" actId="20577"/>
        <pc:sldMkLst>
          <pc:docMk/>
          <pc:sldMk cId="1772530871" sldId="1886"/>
        </pc:sldMkLst>
      </pc:sldChg>
      <pc:sldChg chg="modNotesTx">
        <pc:chgData name="Vikesh Chugani" userId="9c759398cfaae00f" providerId="LiveId" clId="{247D1286-C692-4091-8A31-A44B33DAA72B}" dt="2024-08-20T09:16:42.629" v="2007" actId="20577"/>
        <pc:sldMkLst>
          <pc:docMk/>
          <pc:sldMk cId="1319048102" sldId="1888"/>
        </pc:sldMkLst>
      </pc:sldChg>
      <pc:sldMasterChg chg="delSldLayout">
        <pc:chgData name="Vikesh Chugani" userId="9c759398cfaae00f" providerId="LiveId" clId="{247D1286-C692-4091-8A31-A44B33DAA72B}" dt="2024-08-19T11:48:41.671" v="2" actId="47"/>
        <pc:sldMasterMkLst>
          <pc:docMk/>
          <pc:sldMasterMk cId="0" sldId="2147483648"/>
        </pc:sldMasterMkLst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0" sldId="2147483648"/>
            <pc:sldLayoutMk cId="2828136979" sldId="2147483663"/>
          </pc:sldLayoutMkLst>
        </pc:sldLayoutChg>
      </pc:sldMasterChg>
      <pc:sldMasterChg chg="del delSldLayout">
        <pc:chgData name="Vikesh Chugani" userId="9c759398cfaae00f" providerId="LiveId" clId="{247D1286-C692-4091-8A31-A44B33DAA72B}" dt="2024-08-19T11:48:41.671" v="2" actId="47"/>
        <pc:sldMasterMkLst>
          <pc:docMk/>
          <pc:sldMasterMk cId="2905603714" sldId="2147483687"/>
        </pc:sldMasterMkLst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1984721469" sldId="2147483688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2446564466" sldId="2147483689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177772682" sldId="2147483690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699606475" sldId="2147483691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2335939687" sldId="2147483692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3851539813" sldId="2147483693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46355659" sldId="2147483694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2709306815" sldId="2147483695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791754848" sldId="2147483696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4102353142" sldId="2147483697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739430249" sldId="2147483698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2373335450" sldId="2147483699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3323031849" sldId="2147483700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2781935230" sldId="2147483701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1664837060" sldId="2147483702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11523446" sldId="2147483703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4123585782" sldId="2147483704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1090486860" sldId="2147483705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3278099162" sldId="2147483706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1051220908" sldId="2147483707"/>
          </pc:sldLayoutMkLst>
        </pc:sldLayoutChg>
      </pc:sldMasterChg>
    </pc:docChg>
  </pc:docChgLst>
  <pc:docChgLst>
    <pc:chgData name="Vikesh Chugani" userId="9c759398cfaae00f" providerId="LiveId" clId="{9DD1F36D-C7B4-4854-8DA3-DF51EDD7316B}"/>
    <pc:docChg chg="undo custSel addSld delSld modSld sldOrd delMainMaster modMainMaster delSection modSection">
      <pc:chgData name="Vikesh Chugani" userId="9c759398cfaae00f" providerId="LiveId" clId="{9DD1F36D-C7B4-4854-8DA3-DF51EDD7316B}" dt="2025-08-20T15:10:08.502" v="2798" actId="14100"/>
      <pc:docMkLst>
        <pc:docMk/>
      </pc:docMkLst>
      <pc:sldChg chg="modSp mod">
        <pc:chgData name="Vikesh Chugani" userId="9c759398cfaae00f" providerId="LiveId" clId="{9DD1F36D-C7B4-4854-8DA3-DF51EDD7316B}" dt="2025-08-06T07:42:55.599" v="7" actId="20577"/>
        <pc:sldMkLst>
          <pc:docMk/>
          <pc:sldMk cId="0" sldId="256"/>
        </pc:sldMkLst>
      </pc:sldChg>
      <pc:sldChg chg="add del">
        <pc:chgData name="Vikesh Chugani" userId="9c759398cfaae00f" providerId="LiveId" clId="{9DD1F36D-C7B4-4854-8DA3-DF51EDD7316B}" dt="2025-08-20T15:03:18.911" v="2725" actId="47"/>
        <pc:sldMkLst>
          <pc:docMk/>
          <pc:sldMk cId="0" sldId="266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0" sldId="307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0" sldId="309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3126494913" sldId="319"/>
        </pc:sldMkLst>
      </pc:sldChg>
      <pc:sldChg chg="addSp modSp add mod">
        <pc:chgData name="Vikesh Chugani" userId="9c759398cfaae00f" providerId="LiveId" clId="{9DD1F36D-C7B4-4854-8DA3-DF51EDD7316B}" dt="2025-08-20T15:02:55.892" v="2722"/>
        <pc:sldMkLst>
          <pc:docMk/>
          <pc:sldMk cId="990182570" sldId="337"/>
        </pc:sldMkLst>
        <pc:spChg chg="add mod">
          <ac:chgData name="Vikesh Chugani" userId="9c759398cfaae00f" providerId="LiveId" clId="{9DD1F36D-C7B4-4854-8DA3-DF51EDD7316B}" dt="2025-08-20T15:02:42.875" v="2720"/>
          <ac:spMkLst>
            <pc:docMk/>
            <pc:sldMk cId="990182570" sldId="337"/>
            <ac:spMk id="6" creationId="{908B88E3-224C-5FDF-EE67-F9E71A1AB851}"/>
          </ac:spMkLst>
        </pc:spChg>
        <pc:spChg chg="add mod">
          <ac:chgData name="Vikesh Chugani" userId="9c759398cfaae00f" providerId="LiveId" clId="{9DD1F36D-C7B4-4854-8DA3-DF51EDD7316B}" dt="2025-08-20T15:02:42.875" v="2720"/>
          <ac:spMkLst>
            <pc:docMk/>
            <pc:sldMk cId="990182570" sldId="337"/>
            <ac:spMk id="13" creationId="{83D83119-86A9-7B96-E860-A8981AD85A6B}"/>
          </ac:spMkLst>
        </pc:spChg>
        <pc:spChg chg="add mod">
          <ac:chgData name="Vikesh Chugani" userId="9c759398cfaae00f" providerId="LiveId" clId="{9DD1F36D-C7B4-4854-8DA3-DF51EDD7316B}" dt="2025-08-20T15:02:42.875" v="2720"/>
          <ac:spMkLst>
            <pc:docMk/>
            <pc:sldMk cId="990182570" sldId="337"/>
            <ac:spMk id="14" creationId="{2D6CAECD-E132-7C00-AACA-F91DB2E1C64A}"/>
          </ac:spMkLst>
        </pc:spChg>
        <pc:spChg chg="add mod">
          <ac:chgData name="Vikesh Chugani" userId="9c759398cfaae00f" providerId="LiveId" clId="{9DD1F36D-C7B4-4854-8DA3-DF51EDD7316B}" dt="2025-08-20T15:02:42.875" v="2720"/>
          <ac:spMkLst>
            <pc:docMk/>
            <pc:sldMk cId="990182570" sldId="337"/>
            <ac:spMk id="15" creationId="{6C92D866-8B70-E239-09C0-E97DE65BA9AC}"/>
          </ac:spMkLst>
        </pc:spChg>
        <pc:spChg chg="mod">
          <ac:chgData name="Vikesh Chugani" userId="9c759398cfaae00f" providerId="LiveId" clId="{9DD1F36D-C7B4-4854-8DA3-DF51EDD7316B}" dt="2025-08-20T15:02:42.875" v="2720"/>
          <ac:spMkLst>
            <pc:docMk/>
            <pc:sldMk cId="990182570" sldId="337"/>
            <ac:spMk id="18" creationId="{0A2A28C9-E351-207B-8C37-0DEADA9D640E}"/>
          </ac:spMkLst>
        </pc:spChg>
        <pc:spChg chg="mod">
          <ac:chgData name="Vikesh Chugani" userId="9c759398cfaae00f" providerId="LiveId" clId="{9DD1F36D-C7B4-4854-8DA3-DF51EDD7316B}" dt="2025-08-20T15:02:42.875" v="2720"/>
          <ac:spMkLst>
            <pc:docMk/>
            <pc:sldMk cId="990182570" sldId="337"/>
            <ac:spMk id="19" creationId="{644D5B37-7BBC-F14F-27AB-3DB5B5F47A51}"/>
          </ac:spMkLst>
        </pc:spChg>
        <pc:spChg chg="mod">
          <ac:chgData name="Vikesh Chugani" userId="9c759398cfaae00f" providerId="LiveId" clId="{9DD1F36D-C7B4-4854-8DA3-DF51EDD7316B}" dt="2025-08-20T15:02:42.875" v="2720"/>
          <ac:spMkLst>
            <pc:docMk/>
            <pc:sldMk cId="990182570" sldId="337"/>
            <ac:spMk id="20" creationId="{E3405BAB-C5AA-18EE-7918-FBE301AF33F0}"/>
          </ac:spMkLst>
        </pc:spChg>
        <pc:spChg chg="add mod">
          <ac:chgData name="Vikesh Chugani" userId="9c759398cfaae00f" providerId="LiveId" clId="{9DD1F36D-C7B4-4854-8DA3-DF51EDD7316B}" dt="2025-08-20T15:02:55.892" v="2722"/>
          <ac:spMkLst>
            <pc:docMk/>
            <pc:sldMk cId="990182570" sldId="337"/>
            <ac:spMk id="21" creationId="{0DD7D0D0-0532-D7DC-DFC7-DF11D37B83B1}"/>
          </ac:spMkLst>
        </pc:spChg>
        <pc:spChg chg="add mod">
          <ac:chgData name="Vikesh Chugani" userId="9c759398cfaae00f" providerId="LiveId" clId="{9DD1F36D-C7B4-4854-8DA3-DF51EDD7316B}" dt="2025-08-20T15:02:55.892" v="2722"/>
          <ac:spMkLst>
            <pc:docMk/>
            <pc:sldMk cId="990182570" sldId="337"/>
            <ac:spMk id="27" creationId="{698C5EE7-77A2-E72A-6ADE-748F987D8F90}"/>
          </ac:spMkLst>
        </pc:spChg>
        <pc:spChg chg="add mod">
          <ac:chgData name="Vikesh Chugani" userId="9c759398cfaae00f" providerId="LiveId" clId="{9DD1F36D-C7B4-4854-8DA3-DF51EDD7316B}" dt="2025-08-20T15:02:55.892" v="2722"/>
          <ac:spMkLst>
            <pc:docMk/>
            <pc:sldMk cId="990182570" sldId="337"/>
            <ac:spMk id="28" creationId="{642F90E8-CF40-E412-5B96-C2443D681CAF}"/>
          </ac:spMkLst>
        </pc:spChg>
        <pc:spChg chg="add mod">
          <ac:chgData name="Vikesh Chugani" userId="9c759398cfaae00f" providerId="LiveId" clId="{9DD1F36D-C7B4-4854-8DA3-DF51EDD7316B}" dt="2025-08-20T15:02:55.892" v="2722"/>
          <ac:spMkLst>
            <pc:docMk/>
            <pc:sldMk cId="990182570" sldId="337"/>
            <ac:spMk id="29" creationId="{51BB6B96-3602-6065-06DB-B474542A0F7E}"/>
          </ac:spMkLst>
        </pc:spChg>
        <pc:spChg chg="mod">
          <ac:chgData name="Vikesh Chugani" userId="9c759398cfaae00f" providerId="LiveId" clId="{9DD1F36D-C7B4-4854-8DA3-DF51EDD7316B}" dt="2025-08-20T15:01:37.961" v="2702" actId="20577"/>
          <ac:spMkLst>
            <pc:docMk/>
            <pc:sldMk cId="990182570" sldId="337"/>
            <ac:spMk id="31" creationId="{2E49D093-FEB7-46FD-8466-CEEED3D3FC92}"/>
          </ac:spMkLst>
        </pc:spChg>
        <pc:spChg chg="mod">
          <ac:chgData name="Vikesh Chugani" userId="9c759398cfaae00f" providerId="LiveId" clId="{9DD1F36D-C7B4-4854-8DA3-DF51EDD7316B}" dt="2025-08-20T15:02:55.892" v="2722"/>
          <ac:spMkLst>
            <pc:docMk/>
            <pc:sldMk cId="990182570" sldId="337"/>
            <ac:spMk id="34" creationId="{887FE42C-EF8E-A0B0-10A5-B9AD07465B1D}"/>
          </ac:spMkLst>
        </pc:spChg>
        <pc:spChg chg="mod">
          <ac:chgData name="Vikesh Chugani" userId="9c759398cfaae00f" providerId="LiveId" clId="{9DD1F36D-C7B4-4854-8DA3-DF51EDD7316B}" dt="2025-08-20T15:02:55.892" v="2722"/>
          <ac:spMkLst>
            <pc:docMk/>
            <pc:sldMk cId="990182570" sldId="337"/>
            <ac:spMk id="35" creationId="{09CE274E-B391-81BB-B82A-A14EEA6B5395}"/>
          </ac:spMkLst>
        </pc:spChg>
        <pc:spChg chg="mod">
          <ac:chgData name="Vikesh Chugani" userId="9c759398cfaae00f" providerId="LiveId" clId="{9DD1F36D-C7B4-4854-8DA3-DF51EDD7316B}" dt="2025-08-20T15:02:55.892" v="2722"/>
          <ac:spMkLst>
            <pc:docMk/>
            <pc:sldMk cId="990182570" sldId="337"/>
            <ac:spMk id="36" creationId="{747BF6B4-181D-2A63-F145-6AD943A74DAD}"/>
          </ac:spMkLst>
        </pc:spChg>
        <pc:grpChg chg="add mod">
          <ac:chgData name="Vikesh Chugani" userId="9c759398cfaae00f" providerId="LiveId" clId="{9DD1F36D-C7B4-4854-8DA3-DF51EDD7316B}" dt="2025-08-20T15:02:42.875" v="2720"/>
          <ac:grpSpMkLst>
            <pc:docMk/>
            <pc:sldMk cId="990182570" sldId="337"/>
            <ac:grpSpMk id="16" creationId="{9AB2F087-CE2B-086E-7A43-86DA75B1A3BB}"/>
          </ac:grpSpMkLst>
        </pc:grpChg>
        <pc:grpChg chg="mod">
          <ac:chgData name="Vikesh Chugani" userId="9c759398cfaae00f" providerId="LiveId" clId="{9DD1F36D-C7B4-4854-8DA3-DF51EDD7316B}" dt="2025-08-20T15:02:42.875" v="2720"/>
          <ac:grpSpMkLst>
            <pc:docMk/>
            <pc:sldMk cId="990182570" sldId="337"/>
            <ac:grpSpMk id="17" creationId="{1C838043-BBE0-B640-7514-CB0BAE6665FA}"/>
          </ac:grpSpMkLst>
        </pc:grpChg>
        <pc:grpChg chg="add mod">
          <ac:chgData name="Vikesh Chugani" userId="9c759398cfaae00f" providerId="LiveId" clId="{9DD1F36D-C7B4-4854-8DA3-DF51EDD7316B}" dt="2025-08-20T15:02:55.892" v="2722"/>
          <ac:grpSpMkLst>
            <pc:docMk/>
            <pc:sldMk cId="990182570" sldId="337"/>
            <ac:grpSpMk id="32" creationId="{C29D9632-7A64-1108-4D1A-E62E0EEB2E4E}"/>
          </ac:grpSpMkLst>
        </pc:grpChg>
        <pc:grpChg chg="mod">
          <ac:chgData name="Vikesh Chugani" userId="9c759398cfaae00f" providerId="LiveId" clId="{9DD1F36D-C7B4-4854-8DA3-DF51EDD7316B}" dt="2025-08-20T15:02:55.892" v="2722"/>
          <ac:grpSpMkLst>
            <pc:docMk/>
            <pc:sldMk cId="990182570" sldId="337"/>
            <ac:grpSpMk id="33" creationId="{07A86986-EA64-0907-4B34-6601D4C4F785}"/>
          </ac:grpSpMkLst>
        </pc:grpChg>
        <pc:cxnChg chg="add mod">
          <ac:chgData name="Vikesh Chugani" userId="9c759398cfaae00f" providerId="LiveId" clId="{9DD1F36D-C7B4-4854-8DA3-DF51EDD7316B}" dt="2025-08-20T15:02:42.875" v="2720"/>
          <ac:cxnSpMkLst>
            <pc:docMk/>
            <pc:sldMk cId="990182570" sldId="337"/>
            <ac:cxnSpMk id="7" creationId="{8C2ECFF8-349D-BE0A-14BC-90FF318830F2}"/>
          </ac:cxnSpMkLst>
        </pc:cxnChg>
        <pc:cxnChg chg="add mod">
          <ac:chgData name="Vikesh Chugani" userId="9c759398cfaae00f" providerId="LiveId" clId="{9DD1F36D-C7B4-4854-8DA3-DF51EDD7316B}" dt="2025-08-20T15:02:55.892" v="2722"/>
          <ac:cxnSpMkLst>
            <pc:docMk/>
            <pc:sldMk cId="990182570" sldId="337"/>
            <ac:cxnSpMk id="26" creationId="{4295FACE-0C5B-3C7B-F671-3CA305482939}"/>
          </ac:cxnSpMkLst>
        </pc:cxnChg>
      </pc:sldChg>
      <pc:sldChg chg="add">
        <pc:chgData name="Vikesh Chugani" userId="9c759398cfaae00f" providerId="LiveId" clId="{9DD1F36D-C7B4-4854-8DA3-DF51EDD7316B}" dt="2025-08-20T15:03:44.131" v="2726"/>
        <pc:sldMkLst>
          <pc:docMk/>
          <pc:sldMk cId="0" sldId="338"/>
        </pc:sldMkLst>
      </pc:sldChg>
      <pc:sldChg chg="add del">
        <pc:chgData name="Vikesh Chugani" userId="9c759398cfaae00f" providerId="LiveId" clId="{9DD1F36D-C7B4-4854-8DA3-DF51EDD7316B}" dt="2025-08-20T15:02:01.721" v="2709" actId="47"/>
        <pc:sldMkLst>
          <pc:docMk/>
          <pc:sldMk cId="459477758" sldId="344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1775406622" sldId="359"/>
        </pc:sldMkLst>
      </pc:sldChg>
      <pc:sldChg chg="modSp mod">
        <pc:chgData name="Vikesh Chugani" userId="9c759398cfaae00f" providerId="LiveId" clId="{9DD1F36D-C7B4-4854-8DA3-DF51EDD7316B}" dt="2025-08-20T14:46:13.124" v="2501" actId="108"/>
        <pc:sldMkLst>
          <pc:docMk/>
          <pc:sldMk cId="2873868313" sldId="382"/>
        </pc:sldMkLst>
        <pc:spChg chg="mod">
          <ac:chgData name="Vikesh Chugani" userId="9c759398cfaae00f" providerId="LiveId" clId="{9DD1F36D-C7B4-4854-8DA3-DF51EDD7316B}" dt="2025-08-20T14:46:13.124" v="2501" actId="108"/>
          <ac:spMkLst>
            <pc:docMk/>
            <pc:sldMk cId="2873868313" sldId="382"/>
            <ac:spMk id="3" creationId="{00000000-0000-0000-0000-000000000000}"/>
          </ac:spMkLst>
        </pc:spChg>
      </pc:sldChg>
      <pc:sldChg chg="addSp delSp modSp add mod">
        <pc:chgData name="Vikesh Chugani" userId="9c759398cfaae00f" providerId="LiveId" clId="{9DD1F36D-C7B4-4854-8DA3-DF51EDD7316B}" dt="2025-08-20T14:54:04.189" v="2673" actId="478"/>
        <pc:sldMkLst>
          <pc:docMk/>
          <pc:sldMk cId="3504111010" sldId="385"/>
        </pc:sldMkLst>
        <pc:spChg chg="mod">
          <ac:chgData name="Vikesh Chugani" userId="9c759398cfaae00f" providerId="LiveId" clId="{9DD1F36D-C7B4-4854-8DA3-DF51EDD7316B}" dt="2025-08-20T10:34:29.935" v="1564" actId="108"/>
          <ac:spMkLst>
            <pc:docMk/>
            <pc:sldMk cId="3504111010" sldId="385"/>
            <ac:spMk id="4" creationId="{00000000-0000-0000-0000-000000000000}"/>
          </ac:spMkLst>
        </pc:spChg>
        <pc:spChg chg="mod">
          <ac:chgData name="Vikesh Chugani" userId="9c759398cfaae00f" providerId="LiveId" clId="{9DD1F36D-C7B4-4854-8DA3-DF51EDD7316B}" dt="2025-08-20T14:47:55.807" v="2516" actId="20577"/>
          <ac:spMkLst>
            <pc:docMk/>
            <pc:sldMk cId="3504111010" sldId="385"/>
            <ac:spMk id="5" creationId="{E1C9E90C-633C-4996-97F5-0C14C211D013}"/>
          </ac:spMkLst>
        </pc:spChg>
        <pc:spChg chg="add del mod">
          <ac:chgData name="Vikesh Chugani" userId="9c759398cfaae00f" providerId="LiveId" clId="{9DD1F36D-C7B4-4854-8DA3-DF51EDD7316B}" dt="2025-08-20T14:54:04.189" v="2673" actId="478"/>
          <ac:spMkLst>
            <pc:docMk/>
            <pc:sldMk cId="3504111010" sldId="385"/>
            <ac:spMk id="12" creationId="{D1D3831F-17FB-D69D-1539-3FD37CDE0F21}"/>
          </ac:spMkLst>
        </pc:spChg>
        <pc:spChg chg="mod">
          <ac:chgData name="Vikesh Chugani" userId="9c759398cfaae00f" providerId="LiveId" clId="{9DD1F36D-C7B4-4854-8DA3-DF51EDD7316B}" dt="2025-08-20T14:53:25.236" v="2658"/>
          <ac:spMkLst>
            <pc:docMk/>
            <pc:sldMk cId="3504111010" sldId="385"/>
            <ac:spMk id="14" creationId="{0604C108-2776-F466-D8B5-BCF40C758B85}"/>
          </ac:spMkLst>
        </pc:spChg>
        <pc:spChg chg="mod">
          <ac:chgData name="Vikesh Chugani" userId="9c759398cfaae00f" providerId="LiveId" clId="{9DD1F36D-C7B4-4854-8DA3-DF51EDD7316B}" dt="2025-08-20T14:53:52.223" v="2667" actId="1076"/>
          <ac:spMkLst>
            <pc:docMk/>
            <pc:sldMk cId="3504111010" sldId="385"/>
            <ac:spMk id="23" creationId="{00000000-0000-0000-0000-000000000000}"/>
          </ac:spMkLst>
        </pc:spChg>
        <pc:spChg chg="mod">
          <ac:chgData name="Vikesh Chugani" userId="9c759398cfaae00f" providerId="LiveId" clId="{9DD1F36D-C7B4-4854-8DA3-DF51EDD7316B}" dt="2025-08-20T10:34:51.613" v="1565" actId="108"/>
          <ac:spMkLst>
            <pc:docMk/>
            <pc:sldMk cId="3504111010" sldId="385"/>
            <ac:spMk id="45" creationId="{29AFA985-6070-618D-76B2-D76F5FCAA5B8}"/>
          </ac:spMkLst>
        </pc:spChg>
        <pc:grpChg chg="add mod">
          <ac:chgData name="Vikesh Chugani" userId="9c759398cfaae00f" providerId="LiveId" clId="{9DD1F36D-C7B4-4854-8DA3-DF51EDD7316B}" dt="2025-08-20T14:54:01.319" v="2671" actId="1076"/>
          <ac:grpSpMkLst>
            <pc:docMk/>
            <pc:sldMk cId="3504111010" sldId="385"/>
            <ac:grpSpMk id="13" creationId="{2D4BBC96-9A01-90F0-75FE-6E9CB22B425C}"/>
          </ac:grpSpMkLst>
        </pc:grpChg>
        <pc:graphicFrameChg chg="mod">
          <ac:chgData name="Vikesh Chugani" userId="9c759398cfaae00f" providerId="LiveId" clId="{9DD1F36D-C7B4-4854-8DA3-DF51EDD7316B}" dt="2025-08-20T10:34:20.216" v="1563"/>
          <ac:graphicFrameMkLst>
            <pc:docMk/>
            <pc:sldMk cId="3504111010" sldId="385"/>
            <ac:graphicFrameMk id="2" creationId="{00000000-0000-0000-0000-000000000000}"/>
          </ac:graphicFrameMkLst>
        </pc:graphicFrameChg>
        <pc:picChg chg="add mod">
          <ac:chgData name="Vikesh Chugani" userId="9c759398cfaae00f" providerId="LiveId" clId="{9DD1F36D-C7B4-4854-8DA3-DF51EDD7316B}" dt="2025-08-20T14:53:58.910" v="2670" actId="1076"/>
          <ac:picMkLst>
            <pc:docMk/>
            <pc:sldMk cId="3504111010" sldId="385"/>
            <ac:picMk id="3" creationId="{07B9340B-0BA6-716A-570E-8259640764F2}"/>
          </ac:picMkLst>
        </pc:picChg>
        <pc:picChg chg="mod">
          <ac:chgData name="Vikesh Chugani" userId="9c759398cfaae00f" providerId="LiveId" clId="{9DD1F36D-C7B4-4854-8DA3-DF51EDD7316B}" dt="2025-08-20T14:53:25.236" v="2658"/>
          <ac:picMkLst>
            <pc:docMk/>
            <pc:sldMk cId="3504111010" sldId="385"/>
            <ac:picMk id="17" creationId="{3BC30A72-7838-C06C-959D-EC4A530853F7}"/>
          </ac:picMkLst>
        </pc:picChg>
        <pc:picChg chg="mod">
          <ac:chgData name="Vikesh Chugani" userId="9c759398cfaae00f" providerId="LiveId" clId="{9DD1F36D-C7B4-4854-8DA3-DF51EDD7316B}" dt="2025-08-20T14:54:03.612" v="2672" actId="1076"/>
          <ac:picMkLst>
            <pc:docMk/>
            <pc:sldMk cId="3504111010" sldId="385"/>
            <ac:picMk id="37" creationId="{00000000-0000-0000-0000-000000000000}"/>
          </ac:picMkLst>
        </pc:picChg>
      </pc:sldChg>
      <pc:sldChg chg="addSp delSp modSp add mod">
        <pc:chgData name="Vikesh Chugani" userId="9c759398cfaae00f" providerId="LiveId" clId="{9DD1F36D-C7B4-4854-8DA3-DF51EDD7316B}" dt="2025-08-20T10:29:19.143" v="1526" actId="207"/>
        <pc:sldMkLst>
          <pc:docMk/>
          <pc:sldMk cId="3212138946" sldId="387"/>
        </pc:sldMkLst>
        <pc:spChg chg="add del mod">
          <ac:chgData name="Vikesh Chugani" userId="9c759398cfaae00f" providerId="LiveId" clId="{9DD1F36D-C7B4-4854-8DA3-DF51EDD7316B}" dt="2025-08-20T10:29:19.143" v="1526" actId="207"/>
          <ac:spMkLst>
            <pc:docMk/>
            <pc:sldMk cId="3212138946" sldId="387"/>
            <ac:spMk id="3" creationId="{074C9AA6-6218-DF19-1B1E-C4A2D4FB641E}"/>
          </ac:spMkLst>
        </pc:spChg>
        <pc:spChg chg="mod">
          <ac:chgData name="Vikesh Chugani" userId="9c759398cfaae00f" providerId="LiveId" clId="{9DD1F36D-C7B4-4854-8DA3-DF51EDD7316B}" dt="2025-08-20T10:24:29.515" v="1475" actId="108"/>
          <ac:spMkLst>
            <pc:docMk/>
            <pc:sldMk cId="3212138946" sldId="387"/>
            <ac:spMk id="4" creationId="{00000000-0000-0000-0000-000000000000}"/>
          </ac:spMkLst>
        </pc:spChg>
        <pc:spChg chg="mod">
          <ac:chgData name="Vikesh Chugani" userId="9c759398cfaae00f" providerId="LiveId" clId="{9DD1F36D-C7B4-4854-8DA3-DF51EDD7316B}" dt="2025-08-20T10:24:41.906" v="1476"/>
          <ac:spMkLst>
            <pc:docMk/>
            <pc:sldMk cId="3212138946" sldId="387"/>
            <ac:spMk id="5" creationId="{E1C9E90C-633C-4996-97F5-0C14C211D013}"/>
          </ac:spMkLst>
        </pc:spChg>
        <pc:spChg chg="mod">
          <ac:chgData name="Vikesh Chugani" userId="9c759398cfaae00f" providerId="LiveId" clId="{9DD1F36D-C7B4-4854-8DA3-DF51EDD7316B}" dt="2025-08-20T10:28:40.051" v="1521" actId="1076"/>
          <ac:spMkLst>
            <pc:docMk/>
            <pc:sldMk cId="3212138946" sldId="387"/>
            <ac:spMk id="9" creationId="{74FFD868-6B26-47B6-849B-CB424802EB53}"/>
          </ac:spMkLst>
        </pc:spChg>
        <pc:spChg chg="mod">
          <ac:chgData name="Vikesh Chugani" userId="9c759398cfaae00f" providerId="LiveId" clId="{9DD1F36D-C7B4-4854-8DA3-DF51EDD7316B}" dt="2025-08-20T10:28:40.051" v="1521" actId="1076"/>
          <ac:spMkLst>
            <pc:docMk/>
            <pc:sldMk cId="3212138946" sldId="387"/>
            <ac:spMk id="10" creationId="{F4F348E6-1B98-4405-B585-FAA04876E2C4}"/>
          </ac:spMkLst>
        </pc:spChg>
        <pc:spChg chg="add mod">
          <ac:chgData name="Vikesh Chugani" userId="9c759398cfaae00f" providerId="LiveId" clId="{9DD1F36D-C7B4-4854-8DA3-DF51EDD7316B}" dt="2025-08-20T10:27:15.938" v="1500" actId="14100"/>
          <ac:spMkLst>
            <pc:docMk/>
            <pc:sldMk cId="3212138946" sldId="387"/>
            <ac:spMk id="12" creationId="{C792101E-C3CF-2D8F-2BC9-7084290FDE66}"/>
          </ac:spMkLst>
        </pc:spChg>
        <pc:spChg chg="mod">
          <ac:chgData name="Vikesh Chugani" userId="9c759398cfaae00f" providerId="LiveId" clId="{9DD1F36D-C7B4-4854-8DA3-DF51EDD7316B}" dt="2025-08-20T10:28:40.051" v="1521" actId="1076"/>
          <ac:spMkLst>
            <pc:docMk/>
            <pc:sldMk cId="3212138946" sldId="387"/>
            <ac:spMk id="13" creationId="{AEA08BA7-8030-4F07-8798-CB2680ACD1AE}"/>
          </ac:spMkLst>
        </pc:spChg>
        <pc:spChg chg="add del">
          <ac:chgData name="Vikesh Chugani" userId="9c759398cfaae00f" providerId="LiveId" clId="{9DD1F36D-C7B4-4854-8DA3-DF51EDD7316B}" dt="2025-08-20T10:25:57.006" v="1485" actId="478"/>
          <ac:spMkLst>
            <pc:docMk/>
            <pc:sldMk cId="3212138946" sldId="387"/>
            <ac:spMk id="14" creationId="{00000000-0000-0000-0000-000000000000}"/>
          </ac:spMkLst>
        </pc:spChg>
        <pc:spChg chg="add del">
          <ac:chgData name="Vikesh Chugani" userId="9c759398cfaae00f" providerId="LiveId" clId="{9DD1F36D-C7B4-4854-8DA3-DF51EDD7316B}" dt="2025-08-20T10:25:57.006" v="1485" actId="478"/>
          <ac:spMkLst>
            <pc:docMk/>
            <pc:sldMk cId="3212138946" sldId="387"/>
            <ac:spMk id="16" creationId="{00000000-0000-0000-0000-000000000000}"/>
          </ac:spMkLst>
        </pc:spChg>
        <pc:spChg chg="add del">
          <ac:chgData name="Vikesh Chugani" userId="9c759398cfaae00f" providerId="LiveId" clId="{9DD1F36D-C7B4-4854-8DA3-DF51EDD7316B}" dt="2025-08-20T10:25:57.006" v="1485" actId="478"/>
          <ac:spMkLst>
            <pc:docMk/>
            <pc:sldMk cId="3212138946" sldId="387"/>
            <ac:spMk id="17" creationId="{00000000-0000-0000-0000-000000000000}"/>
          </ac:spMkLst>
        </pc:spChg>
        <pc:spChg chg="del">
          <ac:chgData name="Vikesh Chugani" userId="9c759398cfaae00f" providerId="LiveId" clId="{9DD1F36D-C7B4-4854-8DA3-DF51EDD7316B}" dt="2025-08-20T10:25:57.006" v="1485" actId="478"/>
          <ac:spMkLst>
            <pc:docMk/>
            <pc:sldMk cId="3212138946" sldId="387"/>
            <ac:spMk id="19" creationId="{00000000-0000-0000-0000-000000000000}"/>
          </ac:spMkLst>
        </pc:spChg>
        <pc:spChg chg="add del">
          <ac:chgData name="Vikesh Chugani" userId="9c759398cfaae00f" providerId="LiveId" clId="{9DD1F36D-C7B4-4854-8DA3-DF51EDD7316B}" dt="2025-08-20T10:25:57.006" v="1485" actId="478"/>
          <ac:spMkLst>
            <pc:docMk/>
            <pc:sldMk cId="3212138946" sldId="387"/>
            <ac:spMk id="20" creationId="{00000000-0000-0000-0000-000000000000}"/>
          </ac:spMkLst>
        </pc:spChg>
        <pc:spChg chg="add del">
          <ac:chgData name="Vikesh Chugani" userId="9c759398cfaae00f" providerId="LiveId" clId="{9DD1F36D-C7B4-4854-8DA3-DF51EDD7316B}" dt="2025-08-20T10:25:57.006" v="1485" actId="478"/>
          <ac:spMkLst>
            <pc:docMk/>
            <pc:sldMk cId="3212138946" sldId="387"/>
            <ac:spMk id="21" creationId="{00000000-0000-0000-0000-000000000000}"/>
          </ac:spMkLst>
        </pc:spChg>
        <pc:spChg chg="mod">
          <ac:chgData name="Vikesh Chugani" userId="9c759398cfaae00f" providerId="LiveId" clId="{9DD1F36D-C7B4-4854-8DA3-DF51EDD7316B}" dt="2025-08-20T10:28:40.051" v="1521" actId="1076"/>
          <ac:spMkLst>
            <pc:docMk/>
            <pc:sldMk cId="3212138946" sldId="387"/>
            <ac:spMk id="25" creationId="{AEA08BA7-8030-4F07-8798-CB2680ACD1AE}"/>
          </ac:spMkLst>
        </pc:spChg>
        <pc:spChg chg="mod">
          <ac:chgData name="Vikesh Chugani" userId="9c759398cfaae00f" providerId="LiveId" clId="{9DD1F36D-C7B4-4854-8DA3-DF51EDD7316B}" dt="2025-08-20T10:28:40.051" v="1521" actId="1076"/>
          <ac:spMkLst>
            <pc:docMk/>
            <pc:sldMk cId="3212138946" sldId="387"/>
            <ac:spMk id="26" creationId="{F4F348E6-1B98-4405-B585-FAA04876E2C4}"/>
          </ac:spMkLst>
        </pc:spChg>
        <pc:spChg chg="mod">
          <ac:chgData name="Vikesh Chugani" userId="9c759398cfaae00f" providerId="LiveId" clId="{9DD1F36D-C7B4-4854-8DA3-DF51EDD7316B}" dt="2025-08-20T10:28:40.051" v="1521" actId="1076"/>
          <ac:spMkLst>
            <pc:docMk/>
            <pc:sldMk cId="3212138946" sldId="387"/>
            <ac:spMk id="27" creationId="{F4F348E6-1B98-4405-B585-FAA04876E2C4}"/>
          </ac:spMkLst>
        </pc:spChg>
        <pc:spChg chg="add del">
          <ac:chgData name="Vikesh Chugani" userId="9c759398cfaae00f" providerId="LiveId" clId="{9DD1F36D-C7B4-4854-8DA3-DF51EDD7316B}" dt="2025-08-20T10:25:57.006" v="1485" actId="478"/>
          <ac:spMkLst>
            <pc:docMk/>
            <pc:sldMk cId="3212138946" sldId="387"/>
            <ac:spMk id="28" creationId="{00000000-0000-0000-0000-000000000000}"/>
          </ac:spMkLst>
        </pc:spChg>
        <pc:spChg chg="add del">
          <ac:chgData name="Vikesh Chugani" userId="9c759398cfaae00f" providerId="LiveId" clId="{9DD1F36D-C7B4-4854-8DA3-DF51EDD7316B}" dt="2025-08-20T10:25:57.006" v="1485" actId="478"/>
          <ac:spMkLst>
            <pc:docMk/>
            <pc:sldMk cId="3212138946" sldId="387"/>
            <ac:spMk id="31" creationId="{00000000-0000-0000-0000-000000000000}"/>
          </ac:spMkLst>
        </pc:spChg>
        <pc:spChg chg="add del">
          <ac:chgData name="Vikesh Chugani" userId="9c759398cfaae00f" providerId="LiveId" clId="{9DD1F36D-C7B4-4854-8DA3-DF51EDD7316B}" dt="2025-08-20T10:25:57.006" v="1485" actId="478"/>
          <ac:spMkLst>
            <pc:docMk/>
            <pc:sldMk cId="3212138946" sldId="387"/>
            <ac:spMk id="32" creationId="{00000000-0000-0000-0000-000000000000}"/>
          </ac:spMkLst>
        </pc:spChg>
        <pc:spChg chg="add del">
          <ac:chgData name="Vikesh Chugani" userId="9c759398cfaae00f" providerId="LiveId" clId="{9DD1F36D-C7B4-4854-8DA3-DF51EDD7316B}" dt="2025-08-20T10:25:57.006" v="1485" actId="478"/>
          <ac:spMkLst>
            <pc:docMk/>
            <pc:sldMk cId="3212138946" sldId="387"/>
            <ac:spMk id="33" creationId="{00000000-0000-0000-0000-000000000000}"/>
          </ac:spMkLst>
        </pc:spChg>
        <pc:spChg chg="add mod">
          <ac:chgData name="Vikesh Chugani" userId="9c759398cfaae00f" providerId="LiveId" clId="{9DD1F36D-C7B4-4854-8DA3-DF51EDD7316B}" dt="2025-08-20T10:28:45.065" v="1522" actId="207"/>
          <ac:spMkLst>
            <pc:docMk/>
            <pc:sldMk cId="3212138946" sldId="387"/>
            <ac:spMk id="34" creationId="{8D95115B-F67E-9830-BC56-3ED34FE791AB}"/>
          </ac:spMkLst>
        </pc:spChg>
        <pc:spChg chg="add mod">
          <ac:chgData name="Vikesh Chugani" userId="9c759398cfaae00f" providerId="LiveId" clId="{9DD1F36D-C7B4-4854-8DA3-DF51EDD7316B}" dt="2025-08-20T10:28:56.361" v="1524" actId="207"/>
          <ac:spMkLst>
            <pc:docMk/>
            <pc:sldMk cId="3212138946" sldId="387"/>
            <ac:spMk id="35" creationId="{E23E6E51-93D0-E825-8CB3-F96EC5259DF5}"/>
          </ac:spMkLst>
        </pc:spChg>
        <pc:spChg chg="add mod">
          <ac:chgData name="Vikesh Chugani" userId="9c759398cfaae00f" providerId="LiveId" clId="{9DD1F36D-C7B4-4854-8DA3-DF51EDD7316B}" dt="2025-08-20T10:25:58.327" v="1486"/>
          <ac:spMkLst>
            <pc:docMk/>
            <pc:sldMk cId="3212138946" sldId="387"/>
            <ac:spMk id="36" creationId="{70C5A97C-5361-421D-2D99-662906E96E54}"/>
          </ac:spMkLst>
        </pc:spChg>
        <pc:spChg chg="add mod">
          <ac:chgData name="Vikesh Chugani" userId="9c759398cfaae00f" providerId="LiveId" clId="{9DD1F36D-C7B4-4854-8DA3-DF51EDD7316B}" dt="2025-08-20T10:26:49.212" v="1495" actId="207"/>
          <ac:spMkLst>
            <pc:docMk/>
            <pc:sldMk cId="3212138946" sldId="387"/>
            <ac:spMk id="37" creationId="{3064FACE-A64A-A6C6-1057-CFDE3D8FFAB5}"/>
          </ac:spMkLst>
        </pc:spChg>
        <pc:spChg chg="mod">
          <ac:chgData name="Vikesh Chugani" userId="9c759398cfaae00f" providerId="LiveId" clId="{9DD1F36D-C7B4-4854-8DA3-DF51EDD7316B}" dt="2025-08-20T10:28:50.409" v="1523" actId="207"/>
          <ac:spMkLst>
            <pc:docMk/>
            <pc:sldMk cId="3212138946" sldId="387"/>
            <ac:spMk id="38" creationId="{C22EEC33-8F3A-A043-85F2-5B821E9AB696}"/>
          </ac:spMkLst>
        </pc:spChg>
        <pc:spChg chg="add mod">
          <ac:chgData name="Vikesh Chugani" userId="9c759398cfaae00f" providerId="LiveId" clId="{9DD1F36D-C7B4-4854-8DA3-DF51EDD7316B}" dt="2025-08-20T10:25:58.327" v="1486"/>
          <ac:spMkLst>
            <pc:docMk/>
            <pc:sldMk cId="3212138946" sldId="387"/>
            <ac:spMk id="39" creationId="{DE6E5CC9-2495-5F74-F5EA-AD11C86F7D0C}"/>
          </ac:spMkLst>
        </pc:spChg>
        <pc:spChg chg="add mod">
          <ac:chgData name="Vikesh Chugani" userId="9c759398cfaae00f" providerId="LiveId" clId="{9DD1F36D-C7B4-4854-8DA3-DF51EDD7316B}" dt="2025-08-20T10:26:47.215" v="1494" actId="207"/>
          <ac:spMkLst>
            <pc:docMk/>
            <pc:sldMk cId="3212138946" sldId="387"/>
            <ac:spMk id="40" creationId="{A764E9A0-9EEC-FF13-0584-7055213F364F}"/>
          </ac:spMkLst>
        </pc:spChg>
        <pc:spChg chg="add mod">
          <ac:chgData name="Vikesh Chugani" userId="9c759398cfaae00f" providerId="LiveId" clId="{9DD1F36D-C7B4-4854-8DA3-DF51EDD7316B}" dt="2025-08-20T10:26:54.229" v="1497" actId="207"/>
          <ac:spMkLst>
            <pc:docMk/>
            <pc:sldMk cId="3212138946" sldId="387"/>
            <ac:spMk id="41" creationId="{59EBAF4E-5735-6072-38C4-0EEFCE7C3857}"/>
          </ac:spMkLst>
        </pc:spChg>
        <pc:spChg chg="add mod">
          <ac:chgData name="Vikesh Chugani" userId="9c759398cfaae00f" providerId="LiveId" clId="{9DD1F36D-C7B4-4854-8DA3-DF51EDD7316B}" dt="2025-08-20T10:29:00.331" v="1525" actId="207"/>
          <ac:spMkLst>
            <pc:docMk/>
            <pc:sldMk cId="3212138946" sldId="387"/>
            <ac:spMk id="42" creationId="{F03AEF61-19E5-2494-EB9D-F905D6845293}"/>
          </ac:spMkLst>
        </pc:spChg>
        <pc:spChg chg="add mod">
          <ac:chgData name="Vikesh Chugani" userId="9c759398cfaae00f" providerId="LiveId" clId="{9DD1F36D-C7B4-4854-8DA3-DF51EDD7316B}" dt="2025-08-20T10:25:58.327" v="1486"/>
          <ac:spMkLst>
            <pc:docMk/>
            <pc:sldMk cId="3212138946" sldId="387"/>
            <ac:spMk id="43" creationId="{2C851E62-A332-DD0C-4F45-BC726214F1F0}"/>
          </ac:spMkLst>
        </pc:spChg>
        <pc:spChg chg="add mod">
          <ac:chgData name="Vikesh Chugani" userId="9c759398cfaae00f" providerId="LiveId" clId="{9DD1F36D-C7B4-4854-8DA3-DF51EDD7316B}" dt="2025-08-20T10:26:51.303" v="1496" actId="207"/>
          <ac:spMkLst>
            <pc:docMk/>
            <pc:sldMk cId="3212138946" sldId="387"/>
            <ac:spMk id="44" creationId="{A15657FE-9F98-A7D3-F0F7-35C4A84F90F8}"/>
          </ac:spMkLst>
        </pc:spChg>
        <pc:spChg chg="del">
          <ac:chgData name="Vikesh Chugani" userId="9c759398cfaae00f" providerId="LiveId" clId="{9DD1F36D-C7B4-4854-8DA3-DF51EDD7316B}" dt="2025-08-20T10:26:04.146" v="1487" actId="478"/>
          <ac:spMkLst>
            <pc:docMk/>
            <pc:sldMk cId="3212138946" sldId="387"/>
            <ac:spMk id="55" creationId="{0254B644-C765-499F-F5E5-76E3469E9DEF}"/>
          </ac:spMkLst>
        </pc:spChg>
        <pc:graphicFrameChg chg="mod">
          <ac:chgData name="Vikesh Chugani" userId="9c759398cfaae00f" providerId="LiveId" clId="{9DD1F36D-C7B4-4854-8DA3-DF51EDD7316B}" dt="2025-08-20T10:24:03.373" v="1474"/>
          <ac:graphicFrameMkLst>
            <pc:docMk/>
            <pc:sldMk cId="3212138946" sldId="387"/>
            <ac:graphicFrameMk id="2" creationId="{00000000-0000-0000-0000-000000000000}"/>
          </ac:graphicFrameMkLst>
        </pc:graphicFrameChg>
        <pc:picChg chg="add del mod">
          <ac:chgData name="Vikesh Chugani" userId="9c759398cfaae00f" providerId="LiveId" clId="{9DD1F36D-C7B4-4854-8DA3-DF51EDD7316B}" dt="2025-08-20T10:27:47.615" v="1516" actId="1035"/>
          <ac:picMkLst>
            <pc:docMk/>
            <pc:sldMk cId="3212138946" sldId="387"/>
            <ac:picMk id="11" creationId="{1DD3D726-8B12-FC12-C226-3F7CD9DA6100}"/>
          </ac:picMkLst>
        </pc:picChg>
      </pc:sldChg>
      <pc:sldChg chg="addSp delSp modSp add del mod ord">
        <pc:chgData name="Vikesh Chugani" userId="9c759398cfaae00f" providerId="LiveId" clId="{9DD1F36D-C7B4-4854-8DA3-DF51EDD7316B}" dt="2025-08-20T10:19:34.137" v="1463" actId="47"/>
        <pc:sldMkLst>
          <pc:docMk/>
          <pc:sldMk cId="1558389387" sldId="429"/>
        </pc:sldMkLst>
        <pc:spChg chg="mod ord">
          <ac:chgData name="Vikesh Chugani" userId="9c759398cfaae00f" providerId="LiveId" clId="{9DD1F36D-C7B4-4854-8DA3-DF51EDD7316B}" dt="2025-08-20T10:11:01.804" v="517"/>
          <ac:spMkLst>
            <pc:docMk/>
            <pc:sldMk cId="1558389387" sldId="429"/>
            <ac:spMk id="4" creationId="{00000000-0000-0000-0000-000000000000}"/>
          </ac:spMkLst>
        </pc:spChg>
        <pc:spChg chg="mod ord">
          <ac:chgData name="Vikesh Chugani" userId="9c759398cfaae00f" providerId="LiveId" clId="{9DD1F36D-C7B4-4854-8DA3-DF51EDD7316B}" dt="2025-08-20T10:11:07.931" v="518"/>
          <ac:spMkLst>
            <pc:docMk/>
            <pc:sldMk cId="1558389387" sldId="429"/>
            <ac:spMk id="5" creationId="{989656F8-0F8B-4830-BB29-A72EA8849623}"/>
          </ac:spMkLst>
        </pc:spChg>
        <pc:spChg chg="mod ord">
          <ac:chgData name="Vikesh Chugani" userId="9c759398cfaae00f" providerId="LiveId" clId="{9DD1F36D-C7B4-4854-8DA3-DF51EDD7316B}" dt="2025-08-20T10:13:20.833" v="539"/>
          <ac:spMkLst>
            <pc:docMk/>
            <pc:sldMk cId="1558389387" sldId="429"/>
            <ac:spMk id="42" creationId="{712E3BFD-886A-C8A4-D909-A97D0630993A}"/>
          </ac:spMkLst>
        </pc:spChg>
        <pc:spChg chg="mod ord">
          <ac:chgData name="Vikesh Chugani" userId="9c759398cfaae00f" providerId="LiveId" clId="{9DD1F36D-C7B4-4854-8DA3-DF51EDD7316B}" dt="2025-08-20T10:11:57.997" v="525"/>
          <ac:spMkLst>
            <pc:docMk/>
            <pc:sldMk cId="1558389387" sldId="429"/>
            <ac:spMk id="43" creationId="{47310027-A9EA-D5ED-56D9-C565FAB8C51A}"/>
          </ac:spMkLst>
        </pc:spChg>
        <pc:spChg chg="mod ord">
          <ac:chgData name="Vikesh Chugani" userId="9c759398cfaae00f" providerId="LiveId" clId="{9DD1F36D-C7B4-4854-8DA3-DF51EDD7316B}" dt="2025-08-20T10:11:28.040" v="521"/>
          <ac:spMkLst>
            <pc:docMk/>
            <pc:sldMk cId="1558389387" sldId="429"/>
            <ac:spMk id="44" creationId="{78AEC78E-3C54-FB7A-5997-C1124B4ED821}"/>
          </ac:spMkLst>
        </pc:spChg>
        <pc:spChg chg="mod ord">
          <ac:chgData name="Vikesh Chugani" userId="9c759398cfaae00f" providerId="LiveId" clId="{9DD1F36D-C7B4-4854-8DA3-DF51EDD7316B}" dt="2025-08-20T10:11:16.115" v="519"/>
          <ac:spMkLst>
            <pc:docMk/>
            <pc:sldMk cId="1558389387" sldId="429"/>
            <ac:spMk id="45" creationId="{41CDA0F6-A41E-8168-2A3F-7CB6E96DFE22}"/>
          </ac:spMkLst>
        </pc:spChg>
        <pc:spChg chg="mod ord">
          <ac:chgData name="Vikesh Chugani" userId="9c759398cfaae00f" providerId="LiveId" clId="{9DD1F36D-C7B4-4854-8DA3-DF51EDD7316B}" dt="2025-08-20T10:09:16.429" v="494"/>
          <ac:spMkLst>
            <pc:docMk/>
            <pc:sldMk cId="1558389387" sldId="429"/>
            <ac:spMk id="46" creationId="{FADCCCA2-85EC-90B4-2AEE-5F4BF0B35999}"/>
          </ac:spMkLst>
        </pc:spChg>
        <pc:spChg chg="mod ord">
          <ac:chgData name="Vikesh Chugani" userId="9c759398cfaae00f" providerId="LiveId" clId="{9DD1F36D-C7B4-4854-8DA3-DF51EDD7316B}" dt="2025-08-20T10:09:35.658" v="516" actId="20577"/>
          <ac:spMkLst>
            <pc:docMk/>
            <pc:sldMk cId="1558389387" sldId="429"/>
            <ac:spMk id="47" creationId="{F5DE836A-6A33-9EB8-686A-5D170BF836CC}"/>
          </ac:spMkLst>
        </pc:spChg>
        <pc:spChg chg="mod ord">
          <ac:chgData name="Vikesh Chugani" userId="9c759398cfaae00f" providerId="LiveId" clId="{9DD1F36D-C7B4-4854-8DA3-DF51EDD7316B}" dt="2025-08-20T10:11:40.983" v="523"/>
          <ac:spMkLst>
            <pc:docMk/>
            <pc:sldMk cId="1558389387" sldId="429"/>
            <ac:spMk id="49" creationId="{14071ED9-D04B-0CF8-99BA-6390B5D8B3A1}"/>
          </ac:spMkLst>
        </pc:spChg>
        <pc:spChg chg="mod ord">
          <ac:chgData name="Vikesh Chugani" userId="9c759398cfaae00f" providerId="LiveId" clId="{9DD1F36D-C7B4-4854-8DA3-DF51EDD7316B}" dt="2025-08-20T10:11:48.482" v="524"/>
          <ac:spMkLst>
            <pc:docMk/>
            <pc:sldMk cId="1558389387" sldId="429"/>
            <ac:spMk id="50" creationId="{DFBB297E-A21D-2575-B778-EAE2B3E7AFDB}"/>
          </ac:spMkLst>
        </pc:spChg>
        <pc:spChg chg="mod ord">
          <ac:chgData name="Vikesh Chugani" userId="9c759398cfaae00f" providerId="LiveId" clId="{9DD1F36D-C7B4-4854-8DA3-DF51EDD7316B}" dt="2025-08-20T10:11:33.628" v="522"/>
          <ac:spMkLst>
            <pc:docMk/>
            <pc:sldMk cId="1558389387" sldId="429"/>
            <ac:spMk id="67" creationId="{7AA0FDE2-496A-8167-F17E-80A04C6A7168}"/>
          </ac:spMkLst>
        </pc:spChg>
        <pc:spChg chg="mod ord">
          <ac:chgData name="Vikesh Chugani" userId="9c759398cfaae00f" providerId="LiveId" clId="{9DD1F36D-C7B4-4854-8DA3-DF51EDD7316B}" dt="2025-08-20T10:12:45.394" v="535"/>
          <ac:spMkLst>
            <pc:docMk/>
            <pc:sldMk cId="1558389387" sldId="429"/>
            <ac:spMk id="69" creationId="{B0AD7ED4-7FBA-77E4-A26C-9538C01E54F8}"/>
          </ac:spMkLst>
        </pc:spChg>
        <pc:spChg chg="mod ord">
          <ac:chgData name="Vikesh Chugani" userId="9c759398cfaae00f" providerId="LiveId" clId="{9DD1F36D-C7B4-4854-8DA3-DF51EDD7316B}" dt="2025-08-20T10:12:36.748" v="534" actId="255"/>
          <ac:spMkLst>
            <pc:docMk/>
            <pc:sldMk cId="1558389387" sldId="429"/>
            <ac:spMk id="75" creationId="{C4D9679A-443B-4F90-1AFE-A1F821F6BDD3}"/>
          </ac:spMkLst>
        </pc:spChg>
        <pc:spChg chg="mod ord">
          <ac:chgData name="Vikesh Chugani" userId="9c759398cfaae00f" providerId="LiveId" clId="{9DD1F36D-C7B4-4854-8DA3-DF51EDD7316B}" dt="2025-08-20T10:11:22.382" v="520"/>
          <ac:spMkLst>
            <pc:docMk/>
            <pc:sldMk cId="1558389387" sldId="429"/>
            <ac:spMk id="84" creationId="{F78738B0-4F8B-7D1A-00D1-CDFFDC0EC5A0}"/>
          </ac:spMkLst>
        </pc:spChg>
        <pc:spChg chg="mod ord">
          <ac:chgData name="Vikesh Chugani" userId="9c759398cfaae00f" providerId="LiveId" clId="{9DD1F36D-C7B4-4854-8DA3-DF51EDD7316B}" dt="2025-08-20T10:12:30.963" v="533" actId="1076"/>
          <ac:spMkLst>
            <pc:docMk/>
            <pc:sldMk cId="1558389387" sldId="429"/>
            <ac:spMk id="87" creationId="{837EB053-9534-791D-2023-C5EBA4BC65BD}"/>
          </ac:spMkLst>
        </pc:spChg>
        <pc:spChg chg="mod ord">
          <ac:chgData name="Vikesh Chugani" userId="9c759398cfaae00f" providerId="LiveId" clId="{9DD1F36D-C7B4-4854-8DA3-DF51EDD7316B}" dt="2025-08-20T10:13:01.735" v="536"/>
          <ac:spMkLst>
            <pc:docMk/>
            <pc:sldMk cId="1558389387" sldId="429"/>
            <ac:spMk id="116" creationId="{3395F839-D792-62FC-ABED-088F98E4414D}"/>
          </ac:spMkLst>
        </pc:spChg>
        <pc:spChg chg="mod ord">
          <ac:chgData name="Vikesh Chugani" userId="9c759398cfaae00f" providerId="LiveId" clId="{9DD1F36D-C7B4-4854-8DA3-DF51EDD7316B}" dt="2025-08-20T10:13:08.715" v="537"/>
          <ac:spMkLst>
            <pc:docMk/>
            <pc:sldMk cId="1558389387" sldId="429"/>
            <ac:spMk id="117" creationId="{BCF889D5-F7E8-7CF8-C9A1-E9AE70D48DDE}"/>
          </ac:spMkLst>
        </pc:spChg>
        <pc:spChg chg="mod ord">
          <ac:chgData name="Vikesh Chugani" userId="9c759398cfaae00f" providerId="LiveId" clId="{9DD1F36D-C7B4-4854-8DA3-DF51EDD7316B}" dt="2025-08-20T10:13:14.298" v="538"/>
          <ac:spMkLst>
            <pc:docMk/>
            <pc:sldMk cId="1558389387" sldId="429"/>
            <ac:spMk id="118" creationId="{1AEF1706-0798-6851-49AC-2799826526C2}"/>
          </ac:spMkLst>
        </pc:spChg>
      </pc:sldChg>
      <pc:sldChg chg="modSp mod">
        <pc:chgData name="Vikesh Chugani" userId="9c759398cfaae00f" providerId="LiveId" clId="{9DD1F36D-C7B4-4854-8DA3-DF51EDD7316B}" dt="2025-08-20T14:46:34.554" v="2502" actId="207"/>
        <pc:sldMkLst>
          <pc:docMk/>
          <pc:sldMk cId="1997537558" sldId="514"/>
        </pc:sldMkLst>
        <pc:spChg chg="mod">
          <ac:chgData name="Vikesh Chugani" userId="9c759398cfaae00f" providerId="LiveId" clId="{9DD1F36D-C7B4-4854-8DA3-DF51EDD7316B}" dt="2025-08-20T14:46:34.554" v="2502" actId="207"/>
          <ac:spMkLst>
            <pc:docMk/>
            <pc:sldMk cId="1997537558" sldId="514"/>
            <ac:spMk id="5" creationId="{989656F8-0F8B-4830-BB29-A72EA8849623}"/>
          </ac:spMkLst>
        </pc:spChg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232353031" sldId="547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870430930" sldId="550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2241106778" sldId="554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3399892931" sldId="568"/>
        </pc:sldMkLst>
      </pc:sldChg>
      <pc:sldChg chg="del ord">
        <pc:chgData name="Vikesh Chugani" userId="9c759398cfaae00f" providerId="LiveId" clId="{9DD1F36D-C7B4-4854-8DA3-DF51EDD7316B}" dt="2025-08-18T16:42:30.080" v="390" actId="47"/>
        <pc:sldMkLst>
          <pc:docMk/>
          <pc:sldMk cId="1171548870" sldId="576"/>
        </pc:sldMkLst>
      </pc:sldChg>
      <pc:sldChg chg="ord">
        <pc:chgData name="Vikesh Chugani" userId="9c759398cfaae00f" providerId="LiveId" clId="{9DD1F36D-C7B4-4854-8DA3-DF51EDD7316B}" dt="2025-08-06T09:45:39.490" v="38"/>
        <pc:sldMkLst>
          <pc:docMk/>
          <pc:sldMk cId="2344106334" sldId="1458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1363970311" sldId="1472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610267048" sldId="1653"/>
        </pc:sldMkLst>
      </pc:sldChg>
      <pc:sldChg chg="del">
        <pc:chgData name="Vikesh Chugani" userId="9c759398cfaae00f" providerId="LiveId" clId="{9DD1F36D-C7B4-4854-8DA3-DF51EDD7316B}" dt="2025-08-20T13:50:46.002" v="2496" actId="47"/>
        <pc:sldMkLst>
          <pc:docMk/>
          <pc:sldMk cId="766010963" sldId="1678"/>
        </pc:sldMkLst>
      </pc:sldChg>
      <pc:sldChg chg="addSp delSp modSp add del mod">
        <pc:chgData name="Vikesh Chugani" userId="9c759398cfaae00f" providerId="LiveId" clId="{9DD1F36D-C7B4-4854-8DA3-DF51EDD7316B}" dt="2025-08-20T10:38:11.072" v="1566" actId="47"/>
        <pc:sldMkLst>
          <pc:docMk/>
          <pc:sldMk cId="4022447760" sldId="1690"/>
        </pc:sldMkLst>
        <pc:spChg chg="add del">
          <ac:chgData name="Vikesh Chugani" userId="9c759398cfaae00f" providerId="LiveId" clId="{9DD1F36D-C7B4-4854-8DA3-DF51EDD7316B}" dt="2025-08-20T10:34:15.088" v="1560" actId="478"/>
          <ac:spMkLst>
            <pc:docMk/>
            <pc:sldMk cId="4022447760" sldId="1690"/>
            <ac:spMk id="3" creationId="{C0CB767E-5398-678C-2130-09D1942447B2}"/>
          </ac:spMkLst>
        </pc:spChg>
        <pc:spChg chg="mod">
          <ac:chgData name="Vikesh Chugani" userId="9c759398cfaae00f" providerId="LiveId" clId="{9DD1F36D-C7B4-4854-8DA3-DF51EDD7316B}" dt="2025-08-20T10:20:03.738" v="1469" actId="108"/>
          <ac:spMkLst>
            <pc:docMk/>
            <pc:sldMk cId="4022447760" sldId="1690"/>
            <ac:spMk id="4" creationId="{00000000-0000-0000-0000-000000000000}"/>
          </ac:spMkLst>
        </pc:spChg>
        <pc:spChg chg="add del mod">
          <ac:chgData name="Vikesh Chugani" userId="9c759398cfaae00f" providerId="LiveId" clId="{9DD1F36D-C7B4-4854-8DA3-DF51EDD7316B}" dt="2025-08-20T10:34:15.088" v="1560" actId="478"/>
          <ac:spMkLst>
            <pc:docMk/>
            <pc:sldMk cId="4022447760" sldId="1690"/>
            <ac:spMk id="6" creationId="{F97AE6A1-365D-4C77-1744-4471E805B5B8}"/>
          </ac:spMkLst>
        </pc:spChg>
        <pc:spChg chg="add del mod">
          <ac:chgData name="Vikesh Chugani" userId="9c759398cfaae00f" providerId="LiveId" clId="{9DD1F36D-C7B4-4854-8DA3-DF51EDD7316B}" dt="2025-08-20T10:34:15.088" v="1560" actId="478"/>
          <ac:spMkLst>
            <pc:docMk/>
            <pc:sldMk cId="4022447760" sldId="1690"/>
            <ac:spMk id="7" creationId="{3D4B607C-4444-DB86-CFFB-B596E977F7F7}"/>
          </ac:spMkLst>
        </pc:spChg>
        <pc:spChg chg="add mod">
          <ac:chgData name="Vikesh Chugani" userId="9c759398cfaae00f" providerId="LiveId" clId="{9DD1F36D-C7B4-4854-8DA3-DF51EDD7316B}" dt="2025-08-20T10:34:07.164" v="1559"/>
          <ac:spMkLst>
            <pc:docMk/>
            <pc:sldMk cId="4022447760" sldId="1690"/>
            <ac:spMk id="26" creationId="{D9CB0E50-4A2F-EDDB-9218-FCA2031047E7}"/>
          </ac:spMkLst>
        </pc:spChg>
        <pc:spChg chg="add mod">
          <ac:chgData name="Vikesh Chugani" userId="9c759398cfaae00f" providerId="LiveId" clId="{9DD1F36D-C7B4-4854-8DA3-DF51EDD7316B}" dt="2025-08-20T10:34:07.164" v="1559"/>
          <ac:spMkLst>
            <pc:docMk/>
            <pc:sldMk cId="4022447760" sldId="1690"/>
            <ac:spMk id="28" creationId="{5DFFC489-DD7B-B823-989A-2DDD2A2425E2}"/>
          </ac:spMkLst>
        </pc:spChg>
        <pc:spChg chg="add mod">
          <ac:chgData name="Vikesh Chugani" userId="9c759398cfaae00f" providerId="LiveId" clId="{9DD1F36D-C7B4-4854-8DA3-DF51EDD7316B}" dt="2025-08-20T10:34:07.164" v="1559"/>
          <ac:spMkLst>
            <pc:docMk/>
            <pc:sldMk cId="4022447760" sldId="1690"/>
            <ac:spMk id="32" creationId="{A92DF442-033C-BAD1-997A-B1DB421CD3A2}"/>
          </ac:spMkLst>
        </pc:spChg>
        <pc:spChg chg="mod">
          <ac:chgData name="Vikesh Chugani" userId="9c759398cfaae00f" providerId="LiveId" clId="{9DD1F36D-C7B4-4854-8DA3-DF51EDD7316B}" dt="2025-08-20T10:34:07.164" v="1559"/>
          <ac:spMkLst>
            <pc:docMk/>
            <pc:sldMk cId="4022447760" sldId="1690"/>
            <ac:spMk id="37" creationId="{2CEF2B78-75DD-1BE4-2242-6D83E3C69B6C}"/>
          </ac:spMkLst>
        </pc:spChg>
        <pc:spChg chg="mod">
          <ac:chgData name="Vikesh Chugani" userId="9c759398cfaae00f" providerId="LiveId" clId="{9DD1F36D-C7B4-4854-8DA3-DF51EDD7316B}" dt="2025-08-20T10:34:07.164" v="1559"/>
          <ac:spMkLst>
            <pc:docMk/>
            <pc:sldMk cId="4022447760" sldId="1690"/>
            <ac:spMk id="38" creationId="{2D7FC317-AD69-C80D-7E6F-1F2148DBB5F3}"/>
          </ac:spMkLst>
        </pc:spChg>
        <pc:spChg chg="mod">
          <ac:chgData name="Vikesh Chugani" userId="9c759398cfaae00f" providerId="LiveId" clId="{9DD1F36D-C7B4-4854-8DA3-DF51EDD7316B}" dt="2025-08-20T10:34:07.164" v="1559"/>
          <ac:spMkLst>
            <pc:docMk/>
            <pc:sldMk cId="4022447760" sldId="1690"/>
            <ac:spMk id="39" creationId="{C0E55823-9AA7-AF61-01D0-E207A88FBE9E}"/>
          </ac:spMkLst>
        </pc:spChg>
        <pc:spChg chg="mod">
          <ac:chgData name="Vikesh Chugani" userId="9c759398cfaae00f" providerId="LiveId" clId="{9DD1F36D-C7B4-4854-8DA3-DF51EDD7316B}" dt="2025-08-20T10:34:07.164" v="1559"/>
          <ac:spMkLst>
            <pc:docMk/>
            <pc:sldMk cId="4022447760" sldId="1690"/>
            <ac:spMk id="40" creationId="{D08C5EBC-8CFC-FBDC-C91F-5B175D1C2931}"/>
          </ac:spMkLst>
        </pc:spChg>
        <pc:spChg chg="add mod">
          <ac:chgData name="Vikesh Chugani" userId="9c759398cfaae00f" providerId="LiveId" clId="{9DD1F36D-C7B4-4854-8DA3-DF51EDD7316B}" dt="2025-08-20T10:34:07.164" v="1559"/>
          <ac:spMkLst>
            <pc:docMk/>
            <pc:sldMk cId="4022447760" sldId="1690"/>
            <ac:spMk id="45" creationId="{020AC166-A7C4-F25C-14B7-BAE130FED50A}"/>
          </ac:spMkLst>
        </pc:spChg>
        <pc:spChg chg="add mod">
          <ac:chgData name="Vikesh Chugani" userId="9c759398cfaae00f" providerId="LiveId" clId="{9DD1F36D-C7B4-4854-8DA3-DF51EDD7316B}" dt="2025-08-20T10:34:07.164" v="1559"/>
          <ac:spMkLst>
            <pc:docMk/>
            <pc:sldMk cId="4022447760" sldId="1690"/>
            <ac:spMk id="47" creationId="{21249349-54D5-1B8E-3570-B291B6A29393}"/>
          </ac:spMkLst>
        </pc:spChg>
        <pc:spChg chg="add mod">
          <ac:chgData name="Vikesh Chugani" userId="9c759398cfaae00f" providerId="LiveId" clId="{9DD1F36D-C7B4-4854-8DA3-DF51EDD7316B}" dt="2025-08-20T10:34:07.164" v="1559"/>
          <ac:spMkLst>
            <pc:docMk/>
            <pc:sldMk cId="4022447760" sldId="1690"/>
            <ac:spMk id="48" creationId="{E63C8D12-D7BE-9962-11F4-81BB004323BA}"/>
          </ac:spMkLst>
        </pc:spChg>
        <pc:spChg chg="add del">
          <ac:chgData name="Vikesh Chugani" userId="9c759398cfaae00f" providerId="LiveId" clId="{9DD1F36D-C7B4-4854-8DA3-DF51EDD7316B}" dt="2025-08-20T10:34:15.088" v="1560" actId="478"/>
          <ac:spMkLst>
            <pc:docMk/>
            <pc:sldMk cId="4022447760" sldId="1690"/>
            <ac:spMk id="94" creationId="{927ABAC9-EED6-2CF1-2B2F-39B7391A1B0C}"/>
          </ac:spMkLst>
        </pc:spChg>
        <pc:spChg chg="add del">
          <ac:chgData name="Vikesh Chugani" userId="9c759398cfaae00f" providerId="LiveId" clId="{9DD1F36D-C7B4-4854-8DA3-DF51EDD7316B}" dt="2025-08-20T10:34:15.088" v="1560" actId="478"/>
          <ac:spMkLst>
            <pc:docMk/>
            <pc:sldMk cId="4022447760" sldId="1690"/>
            <ac:spMk id="96" creationId="{C3FEB875-2A45-1A53-711A-113610BAE819}"/>
          </ac:spMkLst>
        </pc:spChg>
        <pc:spChg chg="del">
          <ac:chgData name="Vikesh Chugani" userId="9c759398cfaae00f" providerId="LiveId" clId="{9DD1F36D-C7B4-4854-8DA3-DF51EDD7316B}" dt="2025-08-20T10:34:06.005" v="1558" actId="478"/>
          <ac:spMkLst>
            <pc:docMk/>
            <pc:sldMk cId="4022447760" sldId="1690"/>
            <ac:spMk id="98" creationId="{78705C96-A2FE-9675-4FBB-EBB3C1D40FA1}"/>
          </ac:spMkLst>
        </pc:spChg>
        <pc:spChg chg="add del">
          <ac:chgData name="Vikesh Chugani" userId="9c759398cfaae00f" providerId="LiveId" clId="{9DD1F36D-C7B4-4854-8DA3-DF51EDD7316B}" dt="2025-08-20T10:34:15.088" v="1560" actId="478"/>
          <ac:spMkLst>
            <pc:docMk/>
            <pc:sldMk cId="4022447760" sldId="1690"/>
            <ac:spMk id="101" creationId="{668C120C-83AE-AF70-4DF7-C7B290131523}"/>
          </ac:spMkLst>
        </pc:spChg>
        <pc:spChg chg="add del">
          <ac:chgData name="Vikesh Chugani" userId="9c759398cfaae00f" providerId="LiveId" clId="{9DD1F36D-C7B4-4854-8DA3-DF51EDD7316B}" dt="2025-08-20T10:34:15.088" v="1560" actId="478"/>
          <ac:spMkLst>
            <pc:docMk/>
            <pc:sldMk cId="4022447760" sldId="1690"/>
            <ac:spMk id="102" creationId="{1B68FC4B-F49B-8FAB-AF98-798CC2B2A012}"/>
          </ac:spMkLst>
        </pc:spChg>
        <pc:spChg chg="add">
          <ac:chgData name="Vikesh Chugani" userId="9c759398cfaae00f" providerId="LiveId" clId="{9DD1F36D-C7B4-4854-8DA3-DF51EDD7316B}" dt="2025-08-20T10:34:15.088" v="1560" actId="478"/>
          <ac:spMkLst>
            <pc:docMk/>
            <pc:sldMk cId="4022447760" sldId="1690"/>
            <ac:spMk id="104" creationId="{EC114BF6-A87D-5F80-26D6-286FEFBA27AF}"/>
          </ac:spMkLst>
        </pc:spChg>
        <pc:spChg chg="add del">
          <ac:chgData name="Vikesh Chugani" userId="9c759398cfaae00f" providerId="LiveId" clId="{9DD1F36D-C7B4-4854-8DA3-DF51EDD7316B}" dt="2025-08-20T10:34:15.088" v="1560" actId="478"/>
          <ac:spMkLst>
            <pc:docMk/>
            <pc:sldMk cId="4022447760" sldId="1690"/>
            <ac:spMk id="105" creationId="{3D88515F-B773-9874-A291-4F832570CB9B}"/>
          </ac:spMkLst>
        </pc:spChg>
        <pc:spChg chg="del">
          <ac:chgData name="Vikesh Chugani" userId="9c759398cfaae00f" providerId="LiveId" clId="{9DD1F36D-C7B4-4854-8DA3-DF51EDD7316B}" dt="2025-08-20T10:34:06.005" v="1558" actId="478"/>
          <ac:spMkLst>
            <pc:docMk/>
            <pc:sldMk cId="4022447760" sldId="1690"/>
            <ac:spMk id="106" creationId="{3E11289C-68D9-3E14-CF9C-C738CD6E0A29}"/>
          </ac:spMkLst>
        </pc:spChg>
        <pc:spChg chg="add">
          <ac:chgData name="Vikesh Chugani" userId="9c759398cfaae00f" providerId="LiveId" clId="{9DD1F36D-C7B4-4854-8DA3-DF51EDD7316B}" dt="2025-08-20T10:34:15.088" v="1560" actId="478"/>
          <ac:spMkLst>
            <pc:docMk/>
            <pc:sldMk cId="4022447760" sldId="1690"/>
            <ac:spMk id="107" creationId="{F355EC82-21FF-1A71-C492-E0115F0891B1}"/>
          </ac:spMkLst>
        </pc:spChg>
        <pc:graphicFrameChg chg="mod">
          <ac:chgData name="Vikesh Chugani" userId="9c759398cfaae00f" providerId="LiveId" clId="{9DD1F36D-C7B4-4854-8DA3-DF51EDD7316B}" dt="2025-08-20T10:19:47.390" v="1466"/>
          <ac:graphicFrameMkLst>
            <pc:docMk/>
            <pc:sldMk cId="4022447760" sldId="1690"/>
            <ac:graphicFrameMk id="2" creationId="{E8E078C5-AC8E-7C57-0735-712E61CFCBE0}"/>
          </ac:graphicFrameMkLst>
        </pc:graphicFrameChg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759465604" sldId="1693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2564190797" sldId="1694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3983337660" sldId="1695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2509261614" sldId="1699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2964524841" sldId="1700"/>
        </pc:sldMkLst>
      </pc:sldChg>
      <pc:sldChg chg="addSp delSp modSp add del mod ord">
        <pc:chgData name="Vikesh Chugani" userId="9c759398cfaae00f" providerId="LiveId" clId="{9DD1F36D-C7B4-4854-8DA3-DF51EDD7316B}" dt="2025-08-20T14:47:31.847" v="2511" actId="108"/>
        <pc:sldMkLst>
          <pc:docMk/>
          <pc:sldMk cId="4204641025" sldId="1768"/>
        </pc:sldMkLst>
        <pc:spChg chg="mod">
          <ac:chgData name="Vikesh Chugani" userId="9c759398cfaae00f" providerId="LiveId" clId="{9DD1F36D-C7B4-4854-8DA3-DF51EDD7316B}" dt="2025-08-20T10:31:38.928" v="1530"/>
          <ac:spMkLst>
            <pc:docMk/>
            <pc:sldMk cId="4204641025" sldId="1768"/>
            <ac:spMk id="4" creationId="{00000000-0000-0000-0000-000000000000}"/>
          </ac:spMkLst>
        </pc:spChg>
        <pc:spChg chg="mod">
          <ac:chgData name="Vikesh Chugani" userId="9c759398cfaae00f" providerId="LiveId" clId="{9DD1F36D-C7B4-4854-8DA3-DF51EDD7316B}" dt="2025-08-20T14:47:31.847" v="2511" actId="108"/>
          <ac:spMkLst>
            <pc:docMk/>
            <pc:sldMk cId="4204641025" sldId="1768"/>
            <ac:spMk id="5" creationId="{E1C9E90C-633C-4996-97F5-0C14C211D013}"/>
          </ac:spMkLst>
        </pc:spChg>
        <pc:spChg chg="mod">
          <ac:chgData name="Vikesh Chugani" userId="9c759398cfaae00f" providerId="LiveId" clId="{9DD1F36D-C7B4-4854-8DA3-DF51EDD7316B}" dt="2025-08-20T10:32:10.682" v="1535"/>
          <ac:spMkLst>
            <pc:docMk/>
            <pc:sldMk cId="4204641025" sldId="1768"/>
            <ac:spMk id="6" creationId="{00000000-0000-0000-0000-000000000000}"/>
          </ac:spMkLst>
        </pc:spChg>
        <pc:spChg chg="add del">
          <ac:chgData name="Vikesh Chugani" userId="9c759398cfaae00f" providerId="LiveId" clId="{9DD1F36D-C7B4-4854-8DA3-DF51EDD7316B}" dt="2025-08-20T10:32:04.628" v="1534" actId="478"/>
          <ac:spMkLst>
            <pc:docMk/>
            <pc:sldMk cId="4204641025" sldId="1768"/>
            <ac:spMk id="7" creationId="{00000000-0000-0000-0000-000000000000}"/>
          </ac:spMkLst>
        </pc:spChg>
        <pc:spChg chg="mod">
          <ac:chgData name="Vikesh Chugani" userId="9c759398cfaae00f" providerId="LiveId" clId="{9DD1F36D-C7B4-4854-8DA3-DF51EDD7316B}" dt="2025-08-20T10:32:15.777" v="1536"/>
          <ac:spMkLst>
            <pc:docMk/>
            <pc:sldMk cId="4204641025" sldId="1768"/>
            <ac:spMk id="8" creationId="{00000000-0000-0000-0000-000000000000}"/>
          </ac:spMkLst>
        </pc:spChg>
        <pc:spChg chg="add del mod">
          <ac:chgData name="Vikesh Chugani" userId="9c759398cfaae00f" providerId="LiveId" clId="{9DD1F36D-C7B4-4854-8DA3-DF51EDD7316B}" dt="2025-08-20T10:32:20.920" v="1537"/>
          <ac:spMkLst>
            <pc:docMk/>
            <pc:sldMk cId="4204641025" sldId="1768"/>
            <ac:spMk id="9" creationId="{00000000-0000-0000-0000-000000000000}"/>
          </ac:spMkLst>
        </pc:spChg>
        <pc:spChg chg="mod">
          <ac:chgData name="Vikesh Chugani" userId="9c759398cfaae00f" providerId="LiveId" clId="{9DD1F36D-C7B4-4854-8DA3-DF51EDD7316B}" dt="2025-08-20T10:32:40.549" v="1551" actId="20577"/>
          <ac:spMkLst>
            <pc:docMk/>
            <pc:sldMk cId="4204641025" sldId="1768"/>
            <ac:spMk id="10" creationId="{00000000-0000-0000-0000-000000000000}"/>
          </ac:spMkLst>
        </pc:spChg>
        <pc:spChg chg="add del mod">
          <ac:chgData name="Vikesh Chugani" userId="9c759398cfaae00f" providerId="LiveId" clId="{9DD1F36D-C7B4-4854-8DA3-DF51EDD7316B}" dt="2025-08-20T10:32:48.211" v="1552"/>
          <ac:spMkLst>
            <pc:docMk/>
            <pc:sldMk cId="4204641025" sldId="1768"/>
            <ac:spMk id="11" creationId="{00000000-0000-0000-0000-000000000000}"/>
          </ac:spMkLst>
        </pc:spChg>
        <pc:spChg chg="add del mod">
          <ac:chgData name="Vikesh Chugani" userId="9c759398cfaae00f" providerId="LiveId" clId="{9DD1F36D-C7B4-4854-8DA3-DF51EDD7316B}" dt="2025-08-20T10:32:55.046" v="1554" actId="20577"/>
          <ac:spMkLst>
            <pc:docMk/>
            <pc:sldMk cId="4204641025" sldId="1768"/>
            <ac:spMk id="12" creationId="{00000000-0000-0000-0000-000000000000}"/>
          </ac:spMkLst>
        </pc:spChg>
        <pc:spChg chg="add del">
          <ac:chgData name="Vikesh Chugani" userId="9c759398cfaae00f" providerId="LiveId" clId="{9DD1F36D-C7B4-4854-8DA3-DF51EDD7316B}" dt="2025-08-20T10:32:04.628" v="1534" actId="478"/>
          <ac:spMkLst>
            <pc:docMk/>
            <pc:sldMk cId="4204641025" sldId="1768"/>
            <ac:spMk id="14" creationId="{00000000-0000-0000-0000-000000000000}"/>
          </ac:spMkLst>
        </pc:spChg>
        <pc:spChg chg="add del">
          <ac:chgData name="Vikesh Chugani" userId="9c759398cfaae00f" providerId="LiveId" clId="{9DD1F36D-C7B4-4854-8DA3-DF51EDD7316B}" dt="2025-08-20T10:32:04.628" v="1534" actId="478"/>
          <ac:spMkLst>
            <pc:docMk/>
            <pc:sldMk cId="4204641025" sldId="1768"/>
            <ac:spMk id="15" creationId="{00000000-0000-0000-0000-000000000000}"/>
          </ac:spMkLst>
        </pc:spChg>
        <pc:spChg chg="add del">
          <ac:chgData name="Vikesh Chugani" userId="9c759398cfaae00f" providerId="LiveId" clId="{9DD1F36D-C7B4-4854-8DA3-DF51EDD7316B}" dt="2025-08-20T10:32:04.628" v="1534" actId="478"/>
          <ac:spMkLst>
            <pc:docMk/>
            <pc:sldMk cId="4204641025" sldId="1768"/>
            <ac:spMk id="16" creationId="{00000000-0000-0000-0000-000000000000}"/>
          </ac:spMkLst>
        </pc:spChg>
        <pc:spChg chg="add del mod">
          <ac:chgData name="Vikesh Chugani" userId="9c759398cfaae00f" providerId="LiveId" clId="{9DD1F36D-C7B4-4854-8DA3-DF51EDD7316B}" dt="2025-08-20T10:33:01.935" v="1556" actId="20577"/>
          <ac:spMkLst>
            <pc:docMk/>
            <pc:sldMk cId="4204641025" sldId="1768"/>
            <ac:spMk id="18" creationId="{00000000-0000-0000-0000-000000000000}"/>
          </ac:spMkLst>
        </pc:spChg>
        <pc:spChg chg="add del">
          <ac:chgData name="Vikesh Chugani" userId="9c759398cfaae00f" providerId="LiveId" clId="{9DD1F36D-C7B4-4854-8DA3-DF51EDD7316B}" dt="2025-08-20T10:32:04.628" v="1534" actId="478"/>
          <ac:spMkLst>
            <pc:docMk/>
            <pc:sldMk cId="4204641025" sldId="1768"/>
            <ac:spMk id="19" creationId="{00000000-0000-0000-0000-000000000000}"/>
          </ac:spMkLst>
        </pc:spChg>
        <pc:spChg chg="add del">
          <ac:chgData name="Vikesh Chugani" userId="9c759398cfaae00f" providerId="LiveId" clId="{9DD1F36D-C7B4-4854-8DA3-DF51EDD7316B}" dt="2025-08-20T10:32:04.628" v="1534" actId="478"/>
          <ac:spMkLst>
            <pc:docMk/>
            <pc:sldMk cId="4204641025" sldId="1768"/>
            <ac:spMk id="20" creationId="{00000000-0000-0000-0000-000000000000}"/>
          </ac:spMkLst>
        </pc:spChg>
        <pc:spChg chg="add mod">
          <ac:chgData name="Vikesh Chugani" userId="9c759398cfaae00f" providerId="LiveId" clId="{9DD1F36D-C7B4-4854-8DA3-DF51EDD7316B}" dt="2025-08-20T10:31:56.514" v="1533"/>
          <ac:spMkLst>
            <pc:docMk/>
            <pc:sldMk cId="4204641025" sldId="1768"/>
            <ac:spMk id="25" creationId="{AF1B66FF-0678-8F88-ADEE-66B913B96484}"/>
          </ac:spMkLst>
        </pc:spChg>
        <pc:spChg chg="add mod">
          <ac:chgData name="Vikesh Chugani" userId="9c759398cfaae00f" providerId="LiveId" clId="{9DD1F36D-C7B4-4854-8DA3-DF51EDD7316B}" dt="2025-08-20T10:31:56.514" v="1533"/>
          <ac:spMkLst>
            <pc:docMk/>
            <pc:sldMk cId="4204641025" sldId="1768"/>
            <ac:spMk id="26" creationId="{FF0B6A76-04C3-8FEB-A81A-DD45B6E29171}"/>
          </ac:spMkLst>
        </pc:spChg>
        <pc:spChg chg="add mod">
          <ac:chgData name="Vikesh Chugani" userId="9c759398cfaae00f" providerId="LiveId" clId="{9DD1F36D-C7B4-4854-8DA3-DF51EDD7316B}" dt="2025-08-20T10:31:56.514" v="1533"/>
          <ac:spMkLst>
            <pc:docMk/>
            <pc:sldMk cId="4204641025" sldId="1768"/>
            <ac:spMk id="30" creationId="{E3ED7E15-D1D3-12C3-89CD-5B817529D28C}"/>
          </ac:spMkLst>
        </pc:spChg>
        <pc:spChg chg="add mod">
          <ac:chgData name="Vikesh Chugani" userId="9c759398cfaae00f" providerId="LiveId" clId="{9DD1F36D-C7B4-4854-8DA3-DF51EDD7316B}" dt="2025-08-20T10:31:56.514" v="1533"/>
          <ac:spMkLst>
            <pc:docMk/>
            <pc:sldMk cId="4204641025" sldId="1768"/>
            <ac:spMk id="32" creationId="{5DEB649F-DC1C-AA52-1287-3F3078BBC32A}"/>
          </ac:spMkLst>
        </pc:spChg>
        <pc:spChg chg="add mod">
          <ac:chgData name="Vikesh Chugani" userId="9c759398cfaae00f" providerId="LiveId" clId="{9DD1F36D-C7B4-4854-8DA3-DF51EDD7316B}" dt="2025-08-20T10:31:56.514" v="1533"/>
          <ac:spMkLst>
            <pc:docMk/>
            <pc:sldMk cId="4204641025" sldId="1768"/>
            <ac:spMk id="33" creationId="{9375621D-BF37-97B1-DEC1-144FA09EDF33}"/>
          </ac:spMkLst>
        </pc:spChg>
        <pc:spChg chg="add mod">
          <ac:chgData name="Vikesh Chugani" userId="9c759398cfaae00f" providerId="LiveId" clId="{9DD1F36D-C7B4-4854-8DA3-DF51EDD7316B}" dt="2025-08-20T10:31:56.514" v="1533"/>
          <ac:spMkLst>
            <pc:docMk/>
            <pc:sldMk cId="4204641025" sldId="1768"/>
            <ac:spMk id="35" creationId="{CE1AC56A-CD94-B222-4660-966BE46B3F1D}"/>
          </ac:spMkLst>
        </pc:spChg>
        <pc:spChg chg="add mod">
          <ac:chgData name="Vikesh Chugani" userId="9c759398cfaae00f" providerId="LiveId" clId="{9DD1F36D-C7B4-4854-8DA3-DF51EDD7316B}" dt="2025-08-20T10:31:56.514" v="1533"/>
          <ac:spMkLst>
            <pc:docMk/>
            <pc:sldMk cId="4204641025" sldId="1768"/>
            <ac:spMk id="37" creationId="{84A08FC1-1232-AB81-180E-8882A1F2EDFF}"/>
          </ac:spMkLst>
        </pc:spChg>
        <pc:spChg chg="add mod">
          <ac:chgData name="Vikesh Chugani" userId="9c759398cfaae00f" providerId="LiveId" clId="{9DD1F36D-C7B4-4854-8DA3-DF51EDD7316B}" dt="2025-08-20T10:31:56.514" v="1533"/>
          <ac:spMkLst>
            <pc:docMk/>
            <pc:sldMk cId="4204641025" sldId="1768"/>
            <ac:spMk id="38" creationId="{7490564D-D0A6-7C27-F9F0-16DB3E3D3973}"/>
          </ac:spMkLst>
        </pc:spChg>
        <pc:spChg chg="add mod">
          <ac:chgData name="Vikesh Chugani" userId="9c759398cfaae00f" providerId="LiveId" clId="{9DD1F36D-C7B4-4854-8DA3-DF51EDD7316B}" dt="2025-08-20T10:31:56.514" v="1533"/>
          <ac:spMkLst>
            <pc:docMk/>
            <pc:sldMk cId="4204641025" sldId="1768"/>
            <ac:spMk id="39" creationId="{2FC0FF19-CE12-3809-5299-4742F829D63B}"/>
          </ac:spMkLst>
        </pc:spChg>
        <pc:spChg chg="add mod">
          <ac:chgData name="Vikesh Chugani" userId="9c759398cfaae00f" providerId="LiveId" clId="{9DD1F36D-C7B4-4854-8DA3-DF51EDD7316B}" dt="2025-08-20T10:31:56.514" v="1533"/>
          <ac:spMkLst>
            <pc:docMk/>
            <pc:sldMk cId="4204641025" sldId="1768"/>
            <ac:spMk id="41" creationId="{160ABCD9-C784-7099-97F4-A7C87F076299}"/>
          </ac:spMkLst>
        </pc:spChg>
        <pc:spChg chg="mod">
          <ac:chgData name="Vikesh Chugani" userId="9c759398cfaae00f" providerId="LiveId" clId="{9DD1F36D-C7B4-4854-8DA3-DF51EDD7316B}" dt="2025-08-20T10:33:07.083" v="1557"/>
          <ac:spMkLst>
            <pc:docMk/>
            <pc:sldMk cId="4204641025" sldId="1768"/>
            <ac:spMk id="80" creationId="{00000000-0000-0000-0000-000000000000}"/>
          </ac:spMkLst>
        </pc:spChg>
      </pc:sldChg>
      <pc:sldChg chg="del ord">
        <pc:chgData name="Vikesh Chugani" userId="9c759398cfaae00f" providerId="LiveId" clId="{9DD1F36D-C7B4-4854-8DA3-DF51EDD7316B}" dt="2025-08-18T14:52:22.253" v="223" actId="47"/>
        <pc:sldMkLst>
          <pc:docMk/>
          <pc:sldMk cId="2153535519" sldId="1856"/>
        </pc:sldMkLst>
      </pc:sldChg>
      <pc:sldChg chg="modSp mod">
        <pc:chgData name="Vikesh Chugani" userId="9c759398cfaae00f" providerId="LiveId" clId="{9DD1F36D-C7B4-4854-8DA3-DF51EDD7316B}" dt="2025-08-20T10:00:26.524" v="408" actId="208"/>
        <pc:sldMkLst>
          <pc:docMk/>
          <pc:sldMk cId="1138289792" sldId="1858"/>
        </pc:sldMkLst>
        <pc:spChg chg="mod">
          <ac:chgData name="Vikesh Chugani" userId="9c759398cfaae00f" providerId="LiveId" clId="{9DD1F36D-C7B4-4854-8DA3-DF51EDD7316B}" dt="2025-08-20T10:00:26.524" v="408" actId="208"/>
          <ac:spMkLst>
            <pc:docMk/>
            <pc:sldMk cId="1138289792" sldId="1858"/>
            <ac:spMk id="109" creationId="{FFFB534B-FD0E-2DEF-647C-2FBC8A47DCFE}"/>
          </ac:spMkLst>
        </pc:spChg>
      </pc:sldChg>
      <pc:sldChg chg="modSp mod ord">
        <pc:chgData name="Vikesh Chugani" userId="9c759398cfaae00f" providerId="LiveId" clId="{9DD1F36D-C7B4-4854-8DA3-DF51EDD7316B}" dt="2025-08-20T14:46:54.087" v="2507" actId="207"/>
        <pc:sldMkLst>
          <pc:docMk/>
          <pc:sldMk cId="3831877885" sldId="1859"/>
        </pc:sldMkLst>
        <pc:spChg chg="mod">
          <ac:chgData name="Vikesh Chugani" userId="9c759398cfaae00f" providerId="LiveId" clId="{9DD1F36D-C7B4-4854-8DA3-DF51EDD7316B}" dt="2025-08-20T14:46:54.087" v="2507" actId="207"/>
          <ac:spMkLst>
            <pc:docMk/>
            <pc:sldMk cId="3831877885" sldId="1859"/>
            <ac:spMk id="4" creationId="{BD93E23E-89E1-AD97-C2CD-EA786C9B5B46}"/>
          </ac:spMkLst>
        </pc:spChg>
      </pc:sldChg>
      <pc:sldChg chg="del">
        <pc:chgData name="Vikesh Chugani" userId="9c759398cfaae00f" providerId="LiveId" clId="{9DD1F36D-C7B4-4854-8DA3-DF51EDD7316B}" dt="2025-08-06T08:34:09.373" v="10" actId="47"/>
        <pc:sldMkLst>
          <pc:docMk/>
          <pc:sldMk cId="1755524343" sldId="1861"/>
        </pc:sldMkLst>
      </pc:sldChg>
      <pc:sldChg chg="modSp mod ord">
        <pc:chgData name="Vikesh Chugani" userId="9c759398cfaae00f" providerId="LiveId" clId="{9DD1F36D-C7B4-4854-8DA3-DF51EDD7316B}" dt="2025-08-20T14:46:57.305" v="2508" actId="207"/>
        <pc:sldMkLst>
          <pc:docMk/>
          <pc:sldMk cId="727476447" sldId="1862"/>
        </pc:sldMkLst>
        <pc:spChg chg="mod">
          <ac:chgData name="Vikesh Chugani" userId="9c759398cfaae00f" providerId="LiveId" clId="{9DD1F36D-C7B4-4854-8DA3-DF51EDD7316B}" dt="2025-08-20T14:46:57.305" v="2508" actId="207"/>
          <ac:spMkLst>
            <pc:docMk/>
            <pc:sldMk cId="727476447" sldId="1862"/>
            <ac:spMk id="4" creationId="{1D32B17F-C112-B156-0416-53617BC6EF6A}"/>
          </ac:spMkLst>
        </pc:spChg>
      </pc:sldChg>
      <pc:sldChg chg="modSp mod ord">
        <pc:chgData name="Vikesh Chugani" userId="9c759398cfaae00f" providerId="LiveId" clId="{9DD1F36D-C7B4-4854-8DA3-DF51EDD7316B}" dt="2025-08-20T14:47:00.288" v="2509" actId="207"/>
        <pc:sldMkLst>
          <pc:docMk/>
          <pc:sldMk cId="214491966" sldId="1864"/>
        </pc:sldMkLst>
        <pc:spChg chg="mod">
          <ac:chgData name="Vikesh Chugani" userId="9c759398cfaae00f" providerId="LiveId" clId="{9DD1F36D-C7B4-4854-8DA3-DF51EDD7316B}" dt="2025-08-20T14:47:00.288" v="2509" actId="207"/>
          <ac:spMkLst>
            <pc:docMk/>
            <pc:sldMk cId="214491966" sldId="1864"/>
            <ac:spMk id="3" creationId="{2A4F79AE-AB84-7137-77DD-6A92AA17FC82}"/>
          </ac:spMkLst>
        </pc:spChg>
      </pc:sldChg>
      <pc:sldChg chg="addSp delSp modSp mod ord">
        <pc:chgData name="Vikesh Chugani" userId="9c759398cfaae00f" providerId="LiveId" clId="{9DD1F36D-C7B4-4854-8DA3-DF51EDD7316B}" dt="2025-08-20T14:52:04.493" v="2653" actId="20577"/>
        <pc:sldMkLst>
          <pc:docMk/>
          <pc:sldMk cId="1353234795" sldId="1866"/>
        </pc:sldMkLst>
        <pc:spChg chg="add mod">
          <ac:chgData name="Vikesh Chugani" userId="9c759398cfaae00f" providerId="LiveId" clId="{9DD1F36D-C7B4-4854-8DA3-DF51EDD7316B}" dt="2025-08-20T14:51:57.492" v="2644" actId="20577"/>
          <ac:spMkLst>
            <pc:docMk/>
            <pc:sldMk cId="1353234795" sldId="1866"/>
            <ac:spMk id="5" creationId="{77FAC6AC-4F12-D557-E5B5-9677424E2137}"/>
          </ac:spMkLst>
        </pc:spChg>
        <pc:spChg chg="mod">
          <ac:chgData name="Vikesh Chugani" userId="9c759398cfaae00f" providerId="LiveId" clId="{9DD1F36D-C7B4-4854-8DA3-DF51EDD7316B}" dt="2025-08-20T14:49:28.902" v="2598" actId="1036"/>
          <ac:spMkLst>
            <pc:docMk/>
            <pc:sldMk cId="1353234795" sldId="1866"/>
            <ac:spMk id="6" creationId="{782B3396-6AC5-3CA3-EAAB-6A7129EDA55E}"/>
          </ac:spMkLst>
        </pc:spChg>
        <pc:spChg chg="mod">
          <ac:chgData name="Vikesh Chugani" userId="9c759398cfaae00f" providerId="LiveId" clId="{9DD1F36D-C7B4-4854-8DA3-DF51EDD7316B}" dt="2025-08-20T14:49:28.902" v="2598" actId="1036"/>
          <ac:spMkLst>
            <pc:docMk/>
            <pc:sldMk cId="1353234795" sldId="1866"/>
            <ac:spMk id="10" creationId="{BE419A68-EBD4-4221-9210-23D0BEAE8D0E}"/>
          </ac:spMkLst>
        </pc:spChg>
        <pc:spChg chg="mod">
          <ac:chgData name="Vikesh Chugani" userId="9c759398cfaae00f" providerId="LiveId" clId="{9DD1F36D-C7B4-4854-8DA3-DF51EDD7316B}" dt="2025-08-20T14:52:04.493" v="2653" actId="20577"/>
          <ac:spMkLst>
            <pc:docMk/>
            <pc:sldMk cId="1353234795" sldId="1866"/>
            <ac:spMk id="14" creationId="{095959BE-CF65-16AC-87E9-3829271BD50E}"/>
          </ac:spMkLst>
        </pc:spChg>
        <pc:spChg chg="mod">
          <ac:chgData name="Vikesh Chugani" userId="9c759398cfaae00f" providerId="LiveId" clId="{9DD1F36D-C7B4-4854-8DA3-DF51EDD7316B}" dt="2025-08-20T14:49:28.902" v="2598" actId="1036"/>
          <ac:spMkLst>
            <pc:docMk/>
            <pc:sldMk cId="1353234795" sldId="1866"/>
            <ac:spMk id="89" creationId="{3CCD597A-B2FD-B017-5FD7-2BBF7BE9EE0D}"/>
          </ac:spMkLst>
        </pc:spChg>
        <pc:picChg chg="add del mod">
          <ac:chgData name="Vikesh Chugani" userId="9c759398cfaae00f" providerId="LiveId" clId="{9DD1F36D-C7B4-4854-8DA3-DF51EDD7316B}" dt="2025-08-20T14:49:41.160" v="2601" actId="21"/>
          <ac:picMkLst>
            <pc:docMk/>
            <pc:sldMk cId="1353234795" sldId="1866"/>
            <ac:picMk id="2" creationId="{24D9C344-E81B-3428-D9F2-ED5F94B61617}"/>
          </ac:picMkLst>
        </pc:picChg>
        <pc:picChg chg="add mod">
          <ac:chgData name="Vikesh Chugani" userId="9c759398cfaae00f" providerId="LiveId" clId="{9DD1F36D-C7B4-4854-8DA3-DF51EDD7316B}" dt="2025-08-20T14:49:35.598" v="2600" actId="14100"/>
          <ac:picMkLst>
            <pc:docMk/>
            <pc:sldMk cId="1353234795" sldId="1866"/>
            <ac:picMk id="4" creationId="{DF87B517-0D94-C6B9-EA45-41E0DF560473}"/>
          </ac:picMkLst>
        </pc:picChg>
        <pc:picChg chg="del mod">
          <ac:chgData name="Vikesh Chugani" userId="9c759398cfaae00f" providerId="LiveId" clId="{9DD1F36D-C7B4-4854-8DA3-DF51EDD7316B}" dt="2025-08-20T10:57:34.739" v="1696" actId="478"/>
          <ac:picMkLst>
            <pc:docMk/>
            <pc:sldMk cId="1353234795" sldId="1866"/>
            <ac:picMk id="7" creationId="{E3342296-D1E5-0C8A-8164-5BFB8546E76B}"/>
          </ac:picMkLst>
        </pc:picChg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135681167" sldId="1877"/>
        </pc:sldMkLst>
      </pc:sldChg>
      <pc:sldChg chg="del ord">
        <pc:chgData name="Vikesh Chugani" userId="9c759398cfaae00f" providerId="LiveId" clId="{9DD1F36D-C7B4-4854-8DA3-DF51EDD7316B}" dt="2025-08-20T13:31:21.344" v="1942" actId="47"/>
        <pc:sldMkLst>
          <pc:docMk/>
          <pc:sldMk cId="3477707378" sldId="1879"/>
        </pc:sldMkLst>
      </pc:sldChg>
      <pc:sldChg chg="del">
        <pc:chgData name="Vikesh Chugani" userId="9c759398cfaae00f" providerId="LiveId" clId="{9DD1F36D-C7B4-4854-8DA3-DF51EDD7316B}" dt="2025-08-20T13:50:52.836" v="2498" actId="47"/>
        <pc:sldMkLst>
          <pc:docMk/>
          <pc:sldMk cId="265919042" sldId="1880"/>
        </pc:sldMkLst>
      </pc:sldChg>
      <pc:sldChg chg="del">
        <pc:chgData name="Vikesh Chugani" userId="9c759398cfaae00f" providerId="LiveId" clId="{9DD1F36D-C7B4-4854-8DA3-DF51EDD7316B}" dt="2025-08-20T13:50:54.377" v="2499" actId="47"/>
        <pc:sldMkLst>
          <pc:docMk/>
          <pc:sldMk cId="1123741503" sldId="1881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1450417700" sldId="1882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1772530871" sldId="1886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1319048102" sldId="1888"/>
        </pc:sldMkLst>
      </pc:sldChg>
      <pc:sldChg chg="addSp delSp modSp mod ord">
        <pc:chgData name="Vikesh Chugani" userId="9c759398cfaae00f" providerId="LiveId" clId="{9DD1F36D-C7B4-4854-8DA3-DF51EDD7316B}" dt="2025-08-20T14:46:42.871" v="2505" actId="207"/>
        <pc:sldMkLst>
          <pc:docMk/>
          <pc:sldMk cId="217827664" sldId="1891"/>
        </pc:sldMkLst>
        <pc:spChg chg="mod">
          <ac:chgData name="Vikesh Chugani" userId="9c759398cfaae00f" providerId="LiveId" clId="{9DD1F36D-C7B4-4854-8DA3-DF51EDD7316B}" dt="2025-08-20T14:46:42.871" v="2505" actId="207"/>
          <ac:spMkLst>
            <pc:docMk/>
            <pc:sldMk cId="217827664" sldId="1891"/>
            <ac:spMk id="5" creationId="{989656F8-0F8B-4830-BB29-A72EA8849623}"/>
          </ac:spMkLst>
        </pc:spChg>
        <pc:spChg chg="mod">
          <ac:chgData name="Vikesh Chugani" userId="9c759398cfaae00f" providerId="LiveId" clId="{9DD1F36D-C7B4-4854-8DA3-DF51EDD7316B}" dt="2025-08-20T10:06:10.849" v="459" actId="14100"/>
          <ac:spMkLst>
            <pc:docMk/>
            <pc:sldMk cId="217827664" sldId="1891"/>
            <ac:spMk id="6" creationId="{4086C135-0A38-064D-B8FE-0DD01B427E16}"/>
          </ac:spMkLst>
        </pc:spChg>
        <pc:spChg chg="del mod">
          <ac:chgData name="Vikesh Chugani" userId="9c759398cfaae00f" providerId="LiveId" clId="{9DD1F36D-C7B4-4854-8DA3-DF51EDD7316B}" dt="2025-08-20T10:04:09.091" v="439" actId="478"/>
          <ac:spMkLst>
            <pc:docMk/>
            <pc:sldMk cId="217827664" sldId="1891"/>
            <ac:spMk id="17" creationId="{CEB68293-EDEC-7341-3318-F3444E42C7F6}"/>
          </ac:spMkLst>
        </pc:spChg>
        <pc:picChg chg="mod">
          <ac:chgData name="Vikesh Chugani" userId="9c759398cfaae00f" providerId="LiveId" clId="{9DD1F36D-C7B4-4854-8DA3-DF51EDD7316B}" dt="2025-08-20T10:04:29.164" v="448" actId="1076"/>
          <ac:picMkLst>
            <pc:docMk/>
            <pc:sldMk cId="217827664" sldId="1891"/>
            <ac:picMk id="7" creationId="{E50CAFF0-C820-8AD2-9041-6F46241F8C62}"/>
          </ac:picMkLst>
        </pc:picChg>
        <pc:picChg chg="add mod">
          <ac:chgData name="Vikesh Chugani" userId="9c759398cfaae00f" providerId="LiveId" clId="{9DD1F36D-C7B4-4854-8DA3-DF51EDD7316B}" dt="2025-08-20T10:04:14.545" v="441" actId="1076"/>
          <ac:picMkLst>
            <pc:docMk/>
            <pc:sldMk cId="217827664" sldId="1891"/>
            <ac:picMk id="19" creationId="{16860C3F-C213-D7F8-EBD7-31F8C1AC8918}"/>
          </ac:picMkLst>
        </pc:picChg>
        <pc:picChg chg="add del">
          <ac:chgData name="Vikesh Chugani" userId="9c759398cfaae00f" providerId="LiveId" clId="{9DD1F36D-C7B4-4854-8DA3-DF51EDD7316B}" dt="2025-08-20T10:04:10.388" v="440" actId="478"/>
          <ac:picMkLst>
            <pc:docMk/>
            <pc:sldMk cId="217827664" sldId="1891"/>
            <ac:picMk id="20" creationId="{C987EDA5-C5CF-499B-3262-349EFBBD6833}"/>
          </ac:picMkLst>
        </pc:picChg>
        <pc:picChg chg="add del mod">
          <ac:chgData name="Vikesh Chugani" userId="9c759398cfaae00f" providerId="LiveId" clId="{9DD1F36D-C7B4-4854-8DA3-DF51EDD7316B}" dt="2025-08-20T10:03:49.962" v="430" actId="478"/>
          <ac:picMkLst>
            <pc:docMk/>
            <pc:sldMk cId="217827664" sldId="1891"/>
            <ac:picMk id="22" creationId="{431CCC39-9F44-59E6-A66F-CE81954EAE23}"/>
          </ac:picMkLst>
        </pc:picChg>
        <pc:picChg chg="mod">
          <ac:chgData name="Vikesh Chugani" userId="9c759398cfaae00f" providerId="LiveId" clId="{9DD1F36D-C7B4-4854-8DA3-DF51EDD7316B}" dt="2025-08-20T10:04:32.972" v="449" actId="1076"/>
          <ac:picMkLst>
            <pc:docMk/>
            <pc:sldMk cId="217827664" sldId="1891"/>
            <ac:picMk id="23" creationId="{DFB6899E-8E57-0D96-623A-2B15CAD29126}"/>
          </ac:picMkLst>
        </pc:picChg>
        <pc:picChg chg="add del mod">
          <ac:chgData name="Vikesh Chugani" userId="9c759398cfaae00f" providerId="LiveId" clId="{9DD1F36D-C7B4-4854-8DA3-DF51EDD7316B}" dt="2025-08-20T10:03:57.427" v="434" actId="478"/>
          <ac:picMkLst>
            <pc:docMk/>
            <pc:sldMk cId="217827664" sldId="1891"/>
            <ac:picMk id="25" creationId="{0589D8BD-1CCD-C27F-BF4F-71BFC45AA735}"/>
          </ac:picMkLst>
        </pc:picChg>
        <pc:picChg chg="add mod">
          <ac:chgData name="Vikesh Chugani" userId="9c759398cfaae00f" providerId="LiveId" clId="{9DD1F36D-C7B4-4854-8DA3-DF51EDD7316B}" dt="2025-08-20T10:05:19.267" v="452" actId="1076"/>
          <ac:picMkLst>
            <pc:docMk/>
            <pc:sldMk cId="217827664" sldId="1891"/>
            <ac:picMk id="26" creationId="{13398DEA-EC98-4DEB-BBF0-1D7236C7EB52}"/>
          </ac:picMkLst>
        </pc:picChg>
        <pc:picChg chg="add mod">
          <ac:chgData name="Vikesh Chugani" userId="9c759398cfaae00f" providerId="LiveId" clId="{9DD1F36D-C7B4-4854-8DA3-DF51EDD7316B}" dt="2025-08-20T10:06:06.329" v="457" actId="1076"/>
          <ac:picMkLst>
            <pc:docMk/>
            <pc:sldMk cId="217827664" sldId="1891"/>
            <ac:picMk id="27" creationId="{90A1E812-6466-C3E2-14E8-FBB36C44CEAD}"/>
          </ac:picMkLst>
        </pc:picChg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1354936174" sldId="1892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1821538331" sldId="1893"/>
        </pc:sldMkLst>
      </pc:sldChg>
      <pc:sldChg chg="add">
        <pc:chgData name="Vikesh Chugani" userId="9c759398cfaae00f" providerId="LiveId" clId="{9DD1F36D-C7B4-4854-8DA3-DF51EDD7316B}" dt="2025-08-06T08:30:54.762" v="8"/>
        <pc:sldMkLst>
          <pc:docMk/>
          <pc:sldMk cId="2188383503" sldId="1894"/>
        </pc:sldMkLst>
      </pc:sldChg>
      <pc:sldChg chg="addSp delSp modSp add mod ord">
        <pc:chgData name="Vikesh Chugani" userId="9c759398cfaae00f" providerId="LiveId" clId="{9DD1F36D-C7B4-4854-8DA3-DF51EDD7316B}" dt="2025-08-20T15:10:08.502" v="2798" actId="14100"/>
        <pc:sldMkLst>
          <pc:docMk/>
          <pc:sldMk cId="3582559601" sldId="1914"/>
        </pc:sldMkLst>
        <pc:spChg chg="mod ord">
          <ac:chgData name="Vikesh Chugani" userId="9c759398cfaae00f" providerId="LiveId" clId="{9DD1F36D-C7B4-4854-8DA3-DF51EDD7316B}" dt="2025-08-20T14:52:38.096" v="2657" actId="108"/>
          <ac:spMkLst>
            <pc:docMk/>
            <pc:sldMk cId="3582559601" sldId="1914"/>
            <ac:spMk id="3" creationId="{00000000-0000-0000-0000-000000000000}"/>
          </ac:spMkLst>
        </pc:spChg>
        <pc:spChg chg="mod ord">
          <ac:chgData name="Vikesh Chugani" userId="9c759398cfaae00f" providerId="LiveId" clId="{9DD1F36D-C7B4-4854-8DA3-DF51EDD7316B}" dt="2025-08-20T14:52:30.341" v="2656" actId="108"/>
          <ac:spMkLst>
            <pc:docMk/>
            <pc:sldMk cId="3582559601" sldId="1914"/>
            <ac:spMk id="4" creationId="{00000000-0000-0000-0000-000000000000}"/>
          </ac:spMkLst>
        </pc:spChg>
        <pc:spChg chg="add mod">
          <ac:chgData name="Vikesh Chugani" userId="9c759398cfaae00f" providerId="LiveId" clId="{9DD1F36D-C7B4-4854-8DA3-DF51EDD7316B}" dt="2025-08-20T15:08:47.734" v="2797" actId="20577"/>
          <ac:spMkLst>
            <pc:docMk/>
            <pc:sldMk cId="3582559601" sldId="1914"/>
            <ac:spMk id="7" creationId="{AF1D6D72-CCF1-B9CD-2609-538EEA5E448F}"/>
          </ac:spMkLst>
        </pc:spChg>
        <pc:spChg chg="mod ord">
          <ac:chgData name="Vikesh Chugani" userId="9c759398cfaae00f" providerId="LiveId" clId="{9DD1F36D-C7B4-4854-8DA3-DF51EDD7316B}" dt="2025-08-20T15:06:49.463" v="2747" actId="14100"/>
          <ac:spMkLst>
            <pc:docMk/>
            <pc:sldMk cId="3582559601" sldId="1914"/>
            <ac:spMk id="35" creationId="{AE0E9783-D7DC-7A58-2939-E293B21ABA31}"/>
          </ac:spMkLst>
        </pc:spChg>
        <pc:spChg chg="mod ord">
          <ac:chgData name="Vikesh Chugani" userId="9c759398cfaae00f" providerId="LiveId" clId="{9DD1F36D-C7B4-4854-8DA3-DF51EDD7316B}" dt="2025-08-20T15:07:05.325" v="2751" actId="14100"/>
          <ac:spMkLst>
            <pc:docMk/>
            <pc:sldMk cId="3582559601" sldId="1914"/>
            <ac:spMk id="36" creationId="{0C588386-2350-F80B-959F-C54AABB464F4}"/>
          </ac:spMkLst>
        </pc:spChg>
        <pc:spChg chg="mod ord">
          <ac:chgData name="Vikesh Chugani" userId="9c759398cfaae00f" providerId="LiveId" clId="{9DD1F36D-C7B4-4854-8DA3-DF51EDD7316B}" dt="2025-08-20T15:04:30.950" v="2733" actId="14100"/>
          <ac:spMkLst>
            <pc:docMk/>
            <pc:sldMk cId="3582559601" sldId="1914"/>
            <ac:spMk id="37" creationId="{53862FA2-5D99-7D85-D0F5-8ECF123169EC}"/>
          </ac:spMkLst>
        </pc:spChg>
        <pc:spChg chg="mod ord">
          <ac:chgData name="Vikesh Chugani" userId="9c759398cfaae00f" providerId="LiveId" clId="{9DD1F36D-C7B4-4854-8DA3-DF51EDD7316B}" dt="2025-08-20T13:48:57.491" v="2484"/>
          <ac:spMkLst>
            <pc:docMk/>
            <pc:sldMk cId="3582559601" sldId="1914"/>
            <ac:spMk id="38" creationId="{209D493C-F55D-2DEC-33BA-B29D3B333932}"/>
          </ac:spMkLst>
        </pc:spChg>
        <pc:spChg chg="mod ord">
          <ac:chgData name="Vikesh Chugani" userId="9c759398cfaae00f" providerId="LiveId" clId="{9DD1F36D-C7B4-4854-8DA3-DF51EDD7316B}" dt="2025-08-20T15:04:52.278" v="2737" actId="14100"/>
          <ac:spMkLst>
            <pc:docMk/>
            <pc:sldMk cId="3582559601" sldId="1914"/>
            <ac:spMk id="186" creationId="{9482A306-6EEE-7CA4-9F75-9FF400D10164}"/>
          </ac:spMkLst>
        </pc:spChg>
        <pc:spChg chg="mod ord">
          <ac:chgData name="Vikesh Chugani" userId="9c759398cfaae00f" providerId="LiveId" clId="{9DD1F36D-C7B4-4854-8DA3-DF51EDD7316B}" dt="2025-08-20T15:07:52.360" v="2757" actId="1076"/>
          <ac:spMkLst>
            <pc:docMk/>
            <pc:sldMk cId="3582559601" sldId="1914"/>
            <ac:spMk id="187" creationId="{D8151708-CE93-46EB-8F13-A37F19A4F152}"/>
          </ac:spMkLst>
        </pc:spChg>
        <pc:spChg chg="mod ord">
          <ac:chgData name="Vikesh Chugani" userId="9c759398cfaae00f" providerId="LiveId" clId="{9DD1F36D-C7B4-4854-8DA3-DF51EDD7316B}" dt="2025-08-20T13:48:57.481" v="2452"/>
          <ac:spMkLst>
            <pc:docMk/>
            <pc:sldMk cId="3582559601" sldId="1914"/>
            <ac:spMk id="188" creationId="{D991BFD1-38B5-F0C4-FB5A-EDF9E0548F3C}"/>
          </ac:spMkLst>
        </pc:spChg>
        <pc:spChg chg="mod ord">
          <ac:chgData name="Vikesh Chugani" userId="9c759398cfaae00f" providerId="LiveId" clId="{9DD1F36D-C7B4-4854-8DA3-DF51EDD7316B}" dt="2025-08-20T15:05:07.631" v="2740" actId="14100"/>
          <ac:spMkLst>
            <pc:docMk/>
            <pc:sldMk cId="3582559601" sldId="1914"/>
            <ac:spMk id="189" creationId="{4F4492AA-2755-9802-4F8E-466AC053F823}"/>
          </ac:spMkLst>
        </pc:spChg>
        <pc:spChg chg="mod ord">
          <ac:chgData name="Vikesh Chugani" userId="9c759398cfaae00f" providerId="LiveId" clId="{9DD1F36D-C7B4-4854-8DA3-DF51EDD7316B}" dt="2025-08-20T13:48:57.482" v="2456"/>
          <ac:spMkLst>
            <pc:docMk/>
            <pc:sldMk cId="3582559601" sldId="1914"/>
            <ac:spMk id="197" creationId="{26E6B745-AD19-6824-9C4A-379EB9C25962}"/>
          </ac:spMkLst>
        </pc:spChg>
        <pc:spChg chg="mod ord">
          <ac:chgData name="Vikesh Chugani" userId="9c759398cfaae00f" providerId="LiveId" clId="{9DD1F36D-C7B4-4854-8DA3-DF51EDD7316B}" dt="2025-08-20T15:07:02.229" v="2750" actId="14100"/>
          <ac:spMkLst>
            <pc:docMk/>
            <pc:sldMk cId="3582559601" sldId="1914"/>
            <ac:spMk id="198" creationId="{80CDF3BC-AD70-148E-9433-4A370AD87826}"/>
          </ac:spMkLst>
        </pc:spChg>
        <pc:spChg chg="mod ord">
          <ac:chgData name="Vikesh Chugani" userId="9c759398cfaae00f" providerId="LiveId" clId="{9DD1F36D-C7B4-4854-8DA3-DF51EDD7316B}" dt="2025-08-20T13:48:57.485" v="2460"/>
          <ac:spMkLst>
            <pc:docMk/>
            <pc:sldMk cId="3582559601" sldId="1914"/>
            <ac:spMk id="205" creationId="{C44B278D-181C-8E16-4CA2-F90B473AC237}"/>
          </ac:spMkLst>
        </pc:spChg>
        <pc:spChg chg="mod ord">
          <ac:chgData name="Vikesh Chugani" userId="9c759398cfaae00f" providerId="LiveId" clId="{9DD1F36D-C7B4-4854-8DA3-DF51EDD7316B}" dt="2025-08-20T13:48:57.485" v="2462"/>
          <ac:spMkLst>
            <pc:docMk/>
            <pc:sldMk cId="3582559601" sldId="1914"/>
            <ac:spMk id="206" creationId="{0E7D30A5-EC3C-16D3-B372-373404C91098}"/>
          </ac:spMkLst>
        </pc:spChg>
        <pc:spChg chg="mod ord">
          <ac:chgData name="Vikesh Chugani" userId="9c759398cfaae00f" providerId="LiveId" clId="{9DD1F36D-C7B4-4854-8DA3-DF51EDD7316B}" dt="2025-08-20T15:05:16.566" v="2742" actId="14100"/>
          <ac:spMkLst>
            <pc:docMk/>
            <pc:sldMk cId="3582559601" sldId="1914"/>
            <ac:spMk id="208" creationId="{C282A11E-C4B0-C399-E924-A0C7D85D6623}"/>
          </ac:spMkLst>
        </pc:spChg>
        <pc:spChg chg="mod ord">
          <ac:chgData name="Vikesh Chugani" userId="9c759398cfaae00f" providerId="LiveId" clId="{9DD1F36D-C7B4-4854-8DA3-DF51EDD7316B}" dt="2025-08-20T15:06:46.470" v="2746" actId="14100"/>
          <ac:spMkLst>
            <pc:docMk/>
            <pc:sldMk cId="3582559601" sldId="1914"/>
            <ac:spMk id="213" creationId="{9A0B4B0B-7C10-C63D-FE25-9214DD8B35CA}"/>
          </ac:spMkLst>
        </pc:spChg>
        <pc:spChg chg="mod ord">
          <ac:chgData name="Vikesh Chugani" userId="9c759398cfaae00f" providerId="LiveId" clId="{9DD1F36D-C7B4-4854-8DA3-DF51EDD7316B}" dt="2025-08-20T15:10:08.502" v="2798" actId="14100"/>
          <ac:spMkLst>
            <pc:docMk/>
            <pc:sldMk cId="3582559601" sldId="1914"/>
            <ac:spMk id="217" creationId="{86EF35B1-CDE2-679D-1DC5-4B8F69033414}"/>
          </ac:spMkLst>
        </pc:spChg>
        <pc:spChg chg="mod ord">
          <ac:chgData name="Vikesh Chugani" userId="9c759398cfaae00f" providerId="LiveId" clId="{9DD1F36D-C7B4-4854-8DA3-DF51EDD7316B}" dt="2025-08-20T13:48:57.487" v="2468"/>
          <ac:spMkLst>
            <pc:docMk/>
            <pc:sldMk cId="3582559601" sldId="1914"/>
            <ac:spMk id="222" creationId="{3559D346-3343-7D22-CBB2-533A0C048E94}"/>
          </ac:spMkLst>
        </pc:spChg>
        <pc:spChg chg="mod ord">
          <ac:chgData name="Vikesh Chugani" userId="9c759398cfaae00f" providerId="LiveId" clId="{9DD1F36D-C7B4-4854-8DA3-DF51EDD7316B}" dt="2025-08-20T13:48:57.487" v="2470"/>
          <ac:spMkLst>
            <pc:docMk/>
            <pc:sldMk cId="3582559601" sldId="1914"/>
            <ac:spMk id="226" creationId="{76991C3F-6F36-9093-678F-2F6BFA2BD8F5}"/>
          </ac:spMkLst>
        </pc:spChg>
        <pc:graphicFrameChg chg="mod">
          <ac:chgData name="Vikesh Chugani" userId="9c759398cfaae00f" providerId="LiveId" clId="{9DD1F36D-C7B4-4854-8DA3-DF51EDD7316B}" dt="2025-08-20T13:48:57.493" v="2488"/>
          <ac:graphicFrameMkLst>
            <pc:docMk/>
            <pc:sldMk cId="3582559601" sldId="1914"/>
            <ac:graphicFrameMk id="2" creationId="{00000000-0000-0000-0000-000000000000}"/>
          </ac:graphicFrameMkLst>
        </pc:graphicFrameChg>
        <pc:picChg chg="add mod ord">
          <ac:chgData name="Vikesh Chugani" userId="9c759398cfaae00f" providerId="LiveId" clId="{9DD1F36D-C7B4-4854-8DA3-DF51EDD7316B}" dt="2025-08-20T13:48:57.492" v="2486"/>
          <ac:picMkLst>
            <pc:docMk/>
            <pc:sldMk cId="3582559601" sldId="1914"/>
            <ac:picMk id="5" creationId="{DBDA1202-B5EC-7F22-393E-45C000DF5CF7}"/>
          </ac:picMkLst>
        </pc:picChg>
        <pc:picChg chg="add mod ord modCrop">
          <ac:chgData name="Vikesh Chugani" userId="9c759398cfaae00f" providerId="LiveId" clId="{9DD1F36D-C7B4-4854-8DA3-DF51EDD7316B}" dt="2025-08-20T13:48:57.479" v="2446"/>
          <ac:picMkLst>
            <pc:docMk/>
            <pc:sldMk cId="3582559601" sldId="1914"/>
            <ac:picMk id="6" creationId="{EDFFC895-77DE-FAF3-D046-281291E59849}"/>
          </ac:picMkLst>
        </pc:picChg>
        <pc:picChg chg="add del mod">
          <ac:chgData name="Vikesh Chugani" userId="9c759398cfaae00f" providerId="LiveId" clId="{9DD1F36D-C7B4-4854-8DA3-DF51EDD7316B}" dt="2025-08-20T13:46:29.086" v="2314" actId="478"/>
          <ac:picMkLst>
            <pc:docMk/>
            <pc:sldMk cId="3582559601" sldId="1914"/>
            <ac:picMk id="7" creationId="{35182F1E-BA6D-8832-29F0-DF2635910D70}"/>
          </ac:picMkLst>
        </pc:picChg>
        <pc:picChg chg="add mod ord">
          <ac:chgData name="Vikesh Chugani" userId="9c759398cfaae00f" providerId="LiveId" clId="{9DD1F36D-C7B4-4854-8DA3-DF51EDD7316B}" dt="2025-08-20T15:04:47.629" v="2736" actId="14100"/>
          <ac:picMkLst>
            <pc:docMk/>
            <pc:sldMk cId="3582559601" sldId="1914"/>
            <ac:picMk id="8" creationId="{4068A274-8806-B34A-5424-0B0CD9EE5F3E}"/>
          </ac:picMkLst>
        </pc:picChg>
        <pc:picChg chg="add mod ord">
          <ac:chgData name="Vikesh Chugani" userId="9c759398cfaae00f" providerId="LiveId" clId="{9DD1F36D-C7B4-4854-8DA3-DF51EDD7316B}" dt="2025-08-20T15:05:11.438" v="2741" actId="14100"/>
          <ac:picMkLst>
            <pc:docMk/>
            <pc:sldMk cId="3582559601" sldId="1914"/>
            <ac:picMk id="9" creationId="{9C48D8AA-A184-0FAF-5266-6DEA22D450F6}"/>
          </ac:picMkLst>
        </pc:picChg>
        <pc:picChg chg="add mod ord">
          <ac:chgData name="Vikesh Chugani" userId="9c759398cfaae00f" providerId="LiveId" clId="{9DD1F36D-C7B4-4854-8DA3-DF51EDD7316B}" dt="2025-08-20T13:48:57.474" v="2440"/>
          <ac:picMkLst>
            <pc:docMk/>
            <pc:sldMk cId="3582559601" sldId="1914"/>
            <ac:picMk id="10" creationId="{171A2FAD-1FA3-434B-2D54-73083ABF7D66}"/>
          </ac:picMkLst>
        </pc:picChg>
        <pc:picChg chg="del mod ord">
          <ac:chgData name="Vikesh Chugani" userId="9c759398cfaae00f" providerId="LiveId" clId="{9DD1F36D-C7B4-4854-8DA3-DF51EDD7316B}" dt="2025-08-20T13:47:52.515" v="2374" actId="478"/>
          <ac:picMkLst>
            <pc:docMk/>
            <pc:sldMk cId="3582559601" sldId="1914"/>
            <ac:picMk id="176" creationId="{101586D5-E73B-F374-1886-73B1F00C34C0}"/>
          </ac:picMkLst>
        </pc:picChg>
        <pc:picChg chg="del">
          <ac:chgData name="Vikesh Chugani" userId="9c759398cfaae00f" providerId="LiveId" clId="{9DD1F36D-C7B4-4854-8DA3-DF51EDD7316B}" dt="2025-08-20T13:40:42.762" v="2224" actId="478"/>
          <ac:picMkLst>
            <pc:docMk/>
            <pc:sldMk cId="3582559601" sldId="1914"/>
            <ac:picMk id="231" creationId="{47E4F082-4EA0-DD5E-5ED5-DA2F947BCB2F}"/>
          </ac:picMkLst>
        </pc:picChg>
        <pc:picChg chg="del">
          <ac:chgData name="Vikesh Chugani" userId="9c759398cfaae00f" providerId="LiveId" clId="{9DD1F36D-C7B4-4854-8DA3-DF51EDD7316B}" dt="2025-08-20T13:43:53.420" v="2253" actId="478"/>
          <ac:picMkLst>
            <pc:docMk/>
            <pc:sldMk cId="3582559601" sldId="1914"/>
            <ac:picMk id="233" creationId="{109E987B-8949-576B-257B-1578737B7181}"/>
          </ac:picMkLst>
        </pc:picChg>
        <pc:picChg chg="del mod ord">
          <ac:chgData name="Vikesh Chugani" userId="9c759398cfaae00f" providerId="LiveId" clId="{9DD1F36D-C7B4-4854-8DA3-DF51EDD7316B}" dt="2025-08-20T13:46:26.165" v="2311" actId="478"/>
          <ac:picMkLst>
            <pc:docMk/>
            <pc:sldMk cId="3582559601" sldId="1914"/>
            <ac:picMk id="234" creationId="{FAF43B96-0152-9106-E502-822E753F27A6}"/>
          </ac:picMkLst>
        </pc:picChg>
        <pc:picChg chg="del mod ord">
          <ac:chgData name="Vikesh Chugani" userId="9c759398cfaae00f" providerId="LiveId" clId="{9DD1F36D-C7B4-4854-8DA3-DF51EDD7316B}" dt="2025-08-20T13:48:27.480" v="2430" actId="478"/>
          <ac:picMkLst>
            <pc:docMk/>
            <pc:sldMk cId="3582559601" sldId="1914"/>
            <ac:picMk id="235" creationId="{1D76D6E5-4A48-E4B4-E986-8E2D37EDAABE}"/>
          </ac:picMkLst>
        </pc:picChg>
      </pc:sldChg>
      <pc:sldChg chg="addSp delSp modSp add del mod ord">
        <pc:chgData name="Vikesh Chugani" userId="9c759398cfaae00f" providerId="LiveId" clId="{9DD1F36D-C7B4-4854-8DA3-DF51EDD7316B}" dt="2025-08-20T14:50:56.238" v="2642" actId="1076"/>
        <pc:sldMkLst>
          <pc:docMk/>
          <pc:sldMk cId="3922770403" sldId="1916"/>
        </pc:sldMkLst>
        <pc:spChg chg="add mod">
          <ac:chgData name="Vikesh Chugani" userId="9c759398cfaae00f" providerId="LiveId" clId="{9DD1F36D-C7B4-4854-8DA3-DF51EDD7316B}" dt="2025-08-20T13:29:34.035" v="1922" actId="207"/>
          <ac:spMkLst>
            <pc:docMk/>
            <pc:sldMk cId="3922770403" sldId="1916"/>
            <ac:spMk id="2" creationId="{6C1CDC15-6526-8BEF-5190-DC7B50313CBB}"/>
          </ac:spMkLst>
        </pc:spChg>
        <pc:spChg chg="add del mod">
          <ac:chgData name="Vikesh Chugani" userId="9c759398cfaae00f" providerId="LiveId" clId="{9DD1F36D-C7B4-4854-8DA3-DF51EDD7316B}" dt="2025-08-20T13:27:42.468" v="1898"/>
          <ac:spMkLst>
            <pc:docMk/>
            <pc:sldMk cId="3922770403" sldId="1916"/>
            <ac:spMk id="5" creationId="{3F1B3735-43DD-A1F3-4B29-BBF2FA4271FA}"/>
          </ac:spMkLst>
        </pc:spChg>
        <pc:spChg chg="add mod">
          <ac:chgData name="Vikesh Chugani" userId="9c759398cfaae00f" providerId="LiveId" clId="{9DD1F36D-C7B4-4854-8DA3-DF51EDD7316B}" dt="2025-08-20T13:30:11.644" v="1928" actId="1076"/>
          <ac:spMkLst>
            <pc:docMk/>
            <pc:sldMk cId="3922770403" sldId="1916"/>
            <ac:spMk id="7" creationId="{DBB334B6-4741-C9CE-9662-753D8B482907}"/>
          </ac:spMkLst>
        </pc:spChg>
        <pc:spChg chg="add mod">
          <ac:chgData name="Vikesh Chugani" userId="9c759398cfaae00f" providerId="LiveId" clId="{9DD1F36D-C7B4-4854-8DA3-DF51EDD7316B}" dt="2025-08-20T14:50:36.701" v="2619" actId="14100"/>
          <ac:spMkLst>
            <pc:docMk/>
            <pc:sldMk cId="3922770403" sldId="1916"/>
            <ac:spMk id="8" creationId="{143C7A54-6548-FB63-1E18-F372B913374C}"/>
          </ac:spMkLst>
        </pc:spChg>
        <pc:spChg chg="add mod">
          <ac:chgData name="Vikesh Chugani" userId="9c759398cfaae00f" providerId="LiveId" clId="{9DD1F36D-C7B4-4854-8DA3-DF51EDD7316B}" dt="2025-08-20T13:29:59.029" v="1926"/>
          <ac:spMkLst>
            <pc:docMk/>
            <pc:sldMk cId="3922770403" sldId="1916"/>
            <ac:spMk id="9" creationId="{093ED900-685C-C774-2232-A9547C2B9286}"/>
          </ac:spMkLst>
        </pc:spChg>
        <pc:spChg chg="add mod">
          <ac:chgData name="Vikesh Chugani" userId="9c759398cfaae00f" providerId="LiveId" clId="{9DD1F36D-C7B4-4854-8DA3-DF51EDD7316B}" dt="2025-08-20T13:30:20.087" v="1930"/>
          <ac:spMkLst>
            <pc:docMk/>
            <pc:sldMk cId="3922770403" sldId="1916"/>
            <ac:spMk id="10" creationId="{B590A735-3E55-300E-C0B0-9D9B6F70F2B3}"/>
          </ac:spMkLst>
        </pc:spChg>
        <pc:spChg chg="add mod">
          <ac:chgData name="Vikesh Chugani" userId="9c759398cfaae00f" providerId="LiveId" clId="{9DD1F36D-C7B4-4854-8DA3-DF51EDD7316B}" dt="2025-08-20T13:31:01.847" v="1936"/>
          <ac:spMkLst>
            <pc:docMk/>
            <pc:sldMk cId="3922770403" sldId="1916"/>
            <ac:spMk id="11" creationId="{99E70ED5-724B-2D1A-914A-F120C2D9E9D9}"/>
          </ac:spMkLst>
        </pc:spChg>
        <pc:spChg chg="add mod">
          <ac:chgData name="Vikesh Chugani" userId="9c759398cfaae00f" providerId="LiveId" clId="{9DD1F36D-C7B4-4854-8DA3-DF51EDD7316B}" dt="2025-08-20T14:50:56.238" v="2642" actId="1076"/>
          <ac:spMkLst>
            <pc:docMk/>
            <pc:sldMk cId="3922770403" sldId="1916"/>
            <ac:spMk id="12" creationId="{01EAE8FB-C934-1001-E534-3EE3C4798A96}"/>
          </ac:spMkLst>
        </pc:spChg>
        <pc:picChg chg="mod">
          <ac:chgData name="Vikesh Chugani" userId="9c759398cfaae00f" providerId="LiveId" clId="{9DD1F36D-C7B4-4854-8DA3-DF51EDD7316B}" dt="2025-08-20T14:50:52.927" v="2641" actId="1076"/>
          <ac:picMkLst>
            <pc:docMk/>
            <pc:sldMk cId="3922770403" sldId="1916"/>
            <ac:picMk id="3" creationId="{C81B35AB-5423-673B-CC00-64565070EC5A}"/>
          </ac:picMkLst>
        </pc:picChg>
      </pc:sldChg>
      <pc:sldChg chg="modSp add del mod ord">
        <pc:chgData name="Vikesh Chugani" userId="9c759398cfaae00f" providerId="LiveId" clId="{9DD1F36D-C7B4-4854-8DA3-DF51EDD7316B}" dt="2025-08-20T13:31:20.257" v="1941" actId="47"/>
        <pc:sldMkLst>
          <pc:docMk/>
          <pc:sldMk cId="3378843573" sldId="1917"/>
        </pc:sldMkLst>
        <pc:spChg chg="mod">
          <ac:chgData name="Vikesh Chugani" userId="9c759398cfaae00f" providerId="LiveId" clId="{9DD1F36D-C7B4-4854-8DA3-DF51EDD7316B}" dt="2025-08-20T13:29:16.086" v="1918" actId="1076"/>
          <ac:spMkLst>
            <pc:docMk/>
            <pc:sldMk cId="3378843573" sldId="1917"/>
            <ac:spMk id="7" creationId="{8FD7808C-2809-5EE2-20D7-F478866E5A0F}"/>
          </ac:spMkLst>
        </pc:spChg>
        <pc:spChg chg="mod">
          <ac:chgData name="Vikesh Chugani" userId="9c759398cfaae00f" providerId="LiveId" clId="{9DD1F36D-C7B4-4854-8DA3-DF51EDD7316B}" dt="2025-08-20T13:29:21.083" v="1920" actId="1076"/>
          <ac:spMkLst>
            <pc:docMk/>
            <pc:sldMk cId="3378843573" sldId="1917"/>
            <ac:spMk id="8" creationId="{EA89829A-1695-6EB0-D2E1-68557DDB3776}"/>
          </ac:spMkLst>
        </pc:spChg>
        <pc:spChg chg="mod">
          <ac:chgData name="Vikesh Chugani" userId="9c759398cfaae00f" providerId="LiveId" clId="{9DD1F36D-C7B4-4854-8DA3-DF51EDD7316B}" dt="2025-08-20T13:29:18.995" v="1919" actId="1076"/>
          <ac:spMkLst>
            <pc:docMk/>
            <pc:sldMk cId="3378843573" sldId="1917"/>
            <ac:spMk id="9" creationId="{CFED6A65-BD12-371C-DB46-09D0445F251F}"/>
          </ac:spMkLst>
        </pc:spChg>
        <pc:spChg chg="mod">
          <ac:chgData name="Vikesh Chugani" userId="9c759398cfaae00f" providerId="LiveId" clId="{9DD1F36D-C7B4-4854-8DA3-DF51EDD7316B}" dt="2025-08-20T13:30:56.846" v="1935" actId="1076"/>
          <ac:spMkLst>
            <pc:docMk/>
            <pc:sldMk cId="3378843573" sldId="1917"/>
            <ac:spMk id="12" creationId="{8AF2B63A-A2F1-139D-F987-0F8370A5F760}"/>
          </ac:spMkLst>
        </pc:spChg>
        <pc:picChg chg="mod">
          <ac:chgData name="Vikesh Chugani" userId="9c759398cfaae00f" providerId="LiveId" clId="{9DD1F36D-C7B4-4854-8DA3-DF51EDD7316B}" dt="2025-08-20T13:29:53.421" v="1925" actId="1076"/>
          <ac:picMkLst>
            <pc:docMk/>
            <pc:sldMk cId="3378843573" sldId="1917"/>
            <ac:picMk id="11" creationId="{F75562A4-C3F8-0D88-9036-7BA65520AC20}"/>
          </ac:picMkLst>
        </pc:picChg>
      </pc:sldChg>
      <pc:sldChg chg="modSp add mod">
        <pc:chgData name="Vikesh Chugani" userId="9c759398cfaae00f" providerId="LiveId" clId="{9DD1F36D-C7B4-4854-8DA3-DF51EDD7316B}" dt="2025-08-20T14:46:05.245" v="2500" actId="108"/>
        <pc:sldMkLst>
          <pc:docMk/>
          <pc:sldMk cId="4136258358" sldId="1924"/>
        </pc:sldMkLst>
        <pc:spChg chg="mod">
          <ac:chgData name="Vikesh Chugani" userId="9c759398cfaae00f" providerId="LiveId" clId="{9DD1F36D-C7B4-4854-8DA3-DF51EDD7316B}" dt="2025-08-20T14:46:05.245" v="2500" actId="108"/>
          <ac:spMkLst>
            <pc:docMk/>
            <pc:sldMk cId="4136258358" sldId="1924"/>
            <ac:spMk id="4" creationId="{FB283805-95F4-069A-21ED-4F7E881B9B01}"/>
          </ac:spMkLst>
        </pc:spChg>
      </pc:sldChg>
      <pc:sldChg chg="delSp modSp add mod">
        <pc:chgData name="Vikesh Chugani" userId="9c759398cfaae00f" providerId="LiveId" clId="{9DD1F36D-C7B4-4854-8DA3-DF51EDD7316B}" dt="2025-08-20T10:01:46.970" v="412" actId="20577"/>
        <pc:sldMkLst>
          <pc:docMk/>
          <pc:sldMk cId="1592583382" sldId="2023"/>
        </pc:sldMkLst>
        <pc:spChg chg="mod">
          <ac:chgData name="Vikesh Chugani" userId="9c759398cfaae00f" providerId="LiveId" clId="{9DD1F36D-C7B4-4854-8DA3-DF51EDD7316B}" dt="2025-08-20T10:01:46.970" v="412" actId="20577"/>
          <ac:spMkLst>
            <pc:docMk/>
            <pc:sldMk cId="1592583382" sldId="2023"/>
            <ac:spMk id="21" creationId="{2731A686-3D7B-4FD8-8B00-ED56B067F24D}"/>
          </ac:spMkLst>
        </pc:spChg>
      </pc:sldChg>
      <pc:sldChg chg="addSp modSp add mod ord modShow">
        <pc:chgData name="Vikesh Chugani" userId="9c759398cfaae00f" providerId="LiveId" clId="{9DD1F36D-C7B4-4854-8DA3-DF51EDD7316B}" dt="2025-08-20T14:49:43.941" v="2603" actId="1076"/>
        <pc:sldMkLst>
          <pc:docMk/>
          <pc:sldMk cId="4066991060" sldId="2108"/>
        </pc:sldMkLst>
        <pc:picChg chg="add mod">
          <ac:chgData name="Vikesh Chugani" userId="9c759398cfaae00f" providerId="LiveId" clId="{9DD1F36D-C7B4-4854-8DA3-DF51EDD7316B}" dt="2025-08-20T14:49:43.941" v="2603" actId="1076"/>
          <ac:picMkLst>
            <pc:docMk/>
            <pc:sldMk cId="4066991060" sldId="2108"/>
            <ac:picMk id="5" creationId="{24D9C344-E81B-3428-D9F2-ED5F94B61617}"/>
          </ac:picMkLst>
        </pc:picChg>
      </pc:sldChg>
      <pc:sldChg chg="modSp add del mod modNotes">
        <pc:chgData name="Vikesh Chugani" userId="9c759398cfaae00f" providerId="LiveId" clId="{9DD1F36D-C7B4-4854-8DA3-DF51EDD7316B}" dt="2025-08-18T16:42:28.528" v="389" actId="47"/>
        <pc:sldMkLst>
          <pc:docMk/>
          <pc:sldMk cId="3759160663" sldId="2198"/>
        </pc:sldMkLst>
      </pc:sldChg>
      <pc:sldChg chg="modSp add mod">
        <pc:chgData name="Vikesh Chugani" userId="9c759398cfaae00f" providerId="LiveId" clId="{9DD1F36D-C7B4-4854-8DA3-DF51EDD7316B}" dt="2025-08-20T14:46:48.982" v="2506" actId="207"/>
        <pc:sldMkLst>
          <pc:docMk/>
          <pc:sldMk cId="4186019051" sldId="2199"/>
        </pc:sldMkLst>
        <pc:spChg chg="mod">
          <ac:chgData name="Vikesh Chugani" userId="9c759398cfaae00f" providerId="LiveId" clId="{9DD1F36D-C7B4-4854-8DA3-DF51EDD7316B}" dt="2025-08-20T14:46:48.982" v="2506" actId="207"/>
          <ac:spMkLst>
            <pc:docMk/>
            <pc:sldMk cId="4186019051" sldId="2199"/>
            <ac:spMk id="4" creationId="{03BDE5EB-B606-26CE-F451-C8E1BFDC57F4}"/>
          </ac:spMkLst>
        </pc:spChg>
        <pc:spChg chg="mod">
          <ac:chgData name="Vikesh Chugani" userId="9c759398cfaae00f" providerId="LiveId" clId="{9DD1F36D-C7B4-4854-8DA3-DF51EDD7316B}" dt="2025-08-20T10:07:46.796" v="474" actId="20577"/>
          <ac:spMkLst>
            <pc:docMk/>
            <pc:sldMk cId="4186019051" sldId="2199"/>
            <ac:spMk id="8" creationId="{AC43741F-69DB-2DF8-22E8-E29D24C0DA15}"/>
          </ac:spMkLst>
        </pc:spChg>
        <pc:spChg chg="mod">
          <ac:chgData name="Vikesh Chugani" userId="9c759398cfaae00f" providerId="LiveId" clId="{9DD1F36D-C7B4-4854-8DA3-DF51EDD7316B}" dt="2025-08-20T10:07:54.297" v="490" actId="20577"/>
          <ac:spMkLst>
            <pc:docMk/>
            <pc:sldMk cId="4186019051" sldId="2199"/>
            <ac:spMk id="15" creationId="{504B2895-F245-87F9-B379-B448BF7CEF15}"/>
          </ac:spMkLst>
        </pc:spChg>
      </pc:sldChg>
      <pc:sldChg chg="addSp delSp modSp add del mod ord">
        <pc:chgData name="Vikesh Chugani" userId="9c759398cfaae00f" providerId="LiveId" clId="{9DD1F36D-C7B4-4854-8DA3-DF51EDD7316B}" dt="2025-08-20T15:06:11.704" v="2745" actId="1036"/>
        <pc:sldMkLst>
          <pc:docMk/>
          <pc:sldMk cId="3332988729" sldId="2203"/>
        </pc:sldMkLst>
        <pc:spChg chg="add del mod ord">
          <ac:chgData name="Vikesh Chugani" userId="9c759398cfaae00f" providerId="LiveId" clId="{9DD1F36D-C7B4-4854-8DA3-DF51EDD7316B}" dt="2025-08-20T15:06:11.704" v="2745" actId="1036"/>
          <ac:spMkLst>
            <pc:docMk/>
            <pc:sldMk cId="3332988729" sldId="2203"/>
            <ac:spMk id="2" creationId="{950C5A6C-709E-FBC5-6E11-EEC05EDCCD75}"/>
          </ac:spMkLst>
        </pc:spChg>
        <pc:spChg chg="mod ord">
          <ac:chgData name="Vikesh Chugani" userId="9c759398cfaae00f" providerId="LiveId" clId="{9DD1F36D-C7B4-4854-8DA3-DF51EDD7316B}" dt="2025-08-20T13:34:10.688" v="2137" actId="948"/>
          <ac:spMkLst>
            <pc:docMk/>
            <pc:sldMk cId="3332988729" sldId="2203"/>
            <ac:spMk id="3" creationId="{3B6723FA-F09B-5C65-1F72-34BAF7FE96E9}"/>
          </ac:spMkLst>
        </pc:spChg>
        <pc:spChg chg="del">
          <ac:chgData name="Vikesh Chugani" userId="9c759398cfaae00f" providerId="LiveId" clId="{9DD1F36D-C7B4-4854-8DA3-DF51EDD7316B}" dt="2025-08-20T13:31:41.827" v="1945" actId="478"/>
          <ac:spMkLst>
            <pc:docMk/>
            <pc:sldMk cId="3332988729" sldId="2203"/>
            <ac:spMk id="5" creationId="{422CEAFB-EDF7-FEB7-E91F-1E34BA8EEF98}"/>
          </ac:spMkLst>
        </pc:spChg>
        <pc:spChg chg="add mod">
          <ac:chgData name="Vikesh Chugani" userId="9c759398cfaae00f" providerId="LiveId" clId="{9DD1F36D-C7B4-4854-8DA3-DF51EDD7316B}" dt="2025-08-20T13:31:42.275" v="1946"/>
          <ac:spMkLst>
            <pc:docMk/>
            <pc:sldMk cId="3332988729" sldId="2203"/>
            <ac:spMk id="6" creationId="{58771C8E-F08C-0DFF-B512-3FC2A3FC737B}"/>
          </ac:spMkLst>
        </pc:spChg>
        <pc:spChg chg="del mod ord">
          <ac:chgData name="Vikesh Chugani" userId="9c759398cfaae00f" providerId="LiveId" clId="{9DD1F36D-C7B4-4854-8DA3-DF51EDD7316B}" dt="2025-08-20T13:33:27.741" v="2054" actId="478"/>
          <ac:spMkLst>
            <pc:docMk/>
            <pc:sldMk cId="3332988729" sldId="2203"/>
            <ac:spMk id="7" creationId="{C5BD6974-80E3-2BA7-56FC-E43F4F63A159}"/>
          </ac:spMkLst>
        </pc:spChg>
        <pc:spChg chg="add mod ord">
          <ac:chgData name="Vikesh Chugani" userId="9c759398cfaae00f" providerId="LiveId" clId="{9DD1F36D-C7B4-4854-8DA3-DF51EDD7316B}" dt="2025-08-20T13:32:16.607" v="2030"/>
          <ac:spMkLst>
            <pc:docMk/>
            <pc:sldMk cId="3332988729" sldId="2203"/>
            <ac:spMk id="8" creationId="{D574C8C9-E5E7-9813-1769-1859D78B48D1}"/>
          </ac:spMkLst>
        </pc:spChg>
        <pc:spChg chg="add del mod modVis">
          <ac:chgData name="Vikesh Chugani" userId="9c759398cfaae00f" providerId="LiveId" clId="{9DD1F36D-C7B4-4854-8DA3-DF51EDD7316B}" dt="2025-08-20T13:32:16.608" v="2034"/>
          <ac:spMkLst>
            <pc:docMk/>
            <pc:sldMk cId="3332988729" sldId="2203"/>
            <ac:spMk id="9" creationId="{AC635674-8E99-A471-2E0B-EFA6C77F7266}"/>
          </ac:spMkLst>
        </pc:spChg>
        <pc:spChg chg="add del mod modVis">
          <ac:chgData name="Vikesh Chugani" userId="9c759398cfaae00f" providerId="LiveId" clId="{9DD1F36D-C7B4-4854-8DA3-DF51EDD7316B}" dt="2025-08-20T13:34:00.401" v="2081"/>
          <ac:spMkLst>
            <pc:docMk/>
            <pc:sldMk cId="3332988729" sldId="2203"/>
            <ac:spMk id="10" creationId="{7FD65ACE-963E-93F2-E710-19308A87E30C}"/>
          </ac:spMkLst>
        </pc:spChg>
        <pc:spChg chg="add del mod modVis">
          <ac:chgData name="Vikesh Chugani" userId="9c759398cfaae00f" providerId="LiveId" clId="{9DD1F36D-C7B4-4854-8DA3-DF51EDD7316B}" dt="2025-08-20T13:34:08.001" v="2107"/>
          <ac:spMkLst>
            <pc:docMk/>
            <pc:sldMk cId="3332988729" sldId="2203"/>
            <ac:spMk id="11" creationId="{D260AFC0-240A-767B-350D-8B50EC2AA163}"/>
          </ac:spMkLst>
        </pc:spChg>
        <pc:spChg chg="add del mod modVis">
          <ac:chgData name="Vikesh Chugani" userId="9c759398cfaae00f" providerId="LiveId" clId="{9DD1F36D-C7B4-4854-8DA3-DF51EDD7316B}" dt="2025-08-20T13:34:09.410" v="2133"/>
          <ac:spMkLst>
            <pc:docMk/>
            <pc:sldMk cId="3332988729" sldId="2203"/>
            <ac:spMk id="12" creationId="{D1D51B09-05D6-429A-AC2D-52034B1B0D2C}"/>
          </ac:spMkLst>
        </pc:spChg>
        <pc:spChg chg="add del mod modVis">
          <ac:chgData name="Vikesh Chugani" userId="9c759398cfaae00f" providerId="LiveId" clId="{9DD1F36D-C7B4-4854-8DA3-DF51EDD7316B}" dt="2025-08-20T13:34:10.713" v="2159"/>
          <ac:spMkLst>
            <pc:docMk/>
            <pc:sldMk cId="3332988729" sldId="2203"/>
            <ac:spMk id="13" creationId="{1ADA2AC5-87E3-6848-FBC8-C4D9C8EE29A7}"/>
          </ac:spMkLst>
        </pc:spChg>
        <pc:spChg chg="del mod topLvl">
          <ac:chgData name="Vikesh Chugani" userId="9c759398cfaae00f" providerId="LiveId" clId="{9DD1F36D-C7B4-4854-8DA3-DF51EDD7316B}" dt="2025-08-20T13:36:16.554" v="2201" actId="478"/>
          <ac:spMkLst>
            <pc:docMk/>
            <pc:sldMk cId="3332988729" sldId="2203"/>
            <ac:spMk id="15" creationId="{BE45529B-E2F0-65EE-DDFD-0DAD2C73145D}"/>
          </ac:spMkLst>
        </pc:spChg>
        <pc:spChg chg="mod ord">
          <ac:chgData name="Vikesh Chugani" userId="9c759398cfaae00f" providerId="LiveId" clId="{9DD1F36D-C7B4-4854-8DA3-DF51EDD7316B}" dt="2025-08-20T15:06:01.828" v="2743" actId="113"/>
          <ac:spMkLst>
            <pc:docMk/>
            <pc:sldMk cId="3332988729" sldId="2203"/>
            <ac:spMk id="45" creationId="{799AC1B5-11D3-B785-8AD5-2941C2E778F8}"/>
          </ac:spMkLst>
        </pc:spChg>
        <pc:spChg chg="mod ord">
          <ac:chgData name="Vikesh Chugani" userId="9c759398cfaae00f" providerId="LiveId" clId="{9DD1F36D-C7B4-4854-8DA3-DF51EDD7316B}" dt="2025-08-20T15:06:03.718" v="2744" actId="113"/>
          <ac:spMkLst>
            <pc:docMk/>
            <pc:sldMk cId="3332988729" sldId="2203"/>
            <ac:spMk id="46" creationId="{EC284D7A-17E2-5A8B-D6AA-141B31EBE6F3}"/>
          </ac:spMkLst>
        </pc:spChg>
        <pc:spChg chg="mod ord">
          <ac:chgData name="Vikesh Chugani" userId="9c759398cfaae00f" providerId="LiveId" clId="{9DD1F36D-C7B4-4854-8DA3-DF51EDD7316B}" dt="2025-08-20T13:32:16.593" v="1994"/>
          <ac:spMkLst>
            <pc:docMk/>
            <pc:sldMk cId="3332988729" sldId="2203"/>
            <ac:spMk id="49" creationId="{C2B42ABF-5899-0F2D-E1C4-BB3DE233BB10}"/>
          </ac:spMkLst>
        </pc:spChg>
        <pc:spChg chg="mod ord">
          <ac:chgData name="Vikesh Chugani" userId="9c759398cfaae00f" providerId="LiveId" clId="{9DD1F36D-C7B4-4854-8DA3-DF51EDD7316B}" dt="2025-08-20T13:32:16.594" v="1996"/>
          <ac:spMkLst>
            <pc:docMk/>
            <pc:sldMk cId="3332988729" sldId="2203"/>
            <ac:spMk id="50" creationId="{4BE76708-9470-C2B2-1B21-A3F25FFD1A3F}"/>
          </ac:spMkLst>
        </pc:spChg>
        <pc:spChg chg="mod ord">
          <ac:chgData name="Vikesh Chugani" userId="9c759398cfaae00f" providerId="LiveId" clId="{9DD1F36D-C7B4-4854-8DA3-DF51EDD7316B}" dt="2025-08-20T13:32:16.595" v="1998"/>
          <ac:spMkLst>
            <pc:docMk/>
            <pc:sldMk cId="3332988729" sldId="2203"/>
            <ac:spMk id="54" creationId="{27E31D95-1FB5-314F-D435-9DF0F8A23151}"/>
          </ac:spMkLst>
        </pc:spChg>
        <pc:spChg chg="mod ord">
          <ac:chgData name="Vikesh Chugani" userId="9c759398cfaae00f" providerId="LiveId" clId="{9DD1F36D-C7B4-4854-8DA3-DF51EDD7316B}" dt="2025-08-20T13:32:16.596" v="2000"/>
          <ac:spMkLst>
            <pc:docMk/>
            <pc:sldMk cId="3332988729" sldId="2203"/>
            <ac:spMk id="55" creationId="{2385C7F5-22D6-47E4-B3C4-8887D8841F86}"/>
          </ac:spMkLst>
        </pc:spChg>
        <pc:spChg chg="mod ord">
          <ac:chgData name="Vikesh Chugani" userId="9c759398cfaae00f" providerId="LiveId" clId="{9DD1F36D-C7B4-4854-8DA3-DF51EDD7316B}" dt="2025-08-20T13:33:37.456" v="2056"/>
          <ac:spMkLst>
            <pc:docMk/>
            <pc:sldMk cId="3332988729" sldId="2203"/>
            <ac:spMk id="58" creationId="{8E3A2BF1-6119-76A0-09C7-65122E010BB8}"/>
          </ac:spMkLst>
        </pc:spChg>
        <pc:spChg chg="mod ord">
          <ac:chgData name="Vikesh Chugani" userId="9c759398cfaae00f" providerId="LiveId" clId="{9DD1F36D-C7B4-4854-8DA3-DF51EDD7316B}" dt="2025-08-20T13:33:42.224" v="2057"/>
          <ac:spMkLst>
            <pc:docMk/>
            <pc:sldMk cId="3332988729" sldId="2203"/>
            <ac:spMk id="59" creationId="{7C47E2A3-AA78-9B29-9673-C316988E9A66}"/>
          </ac:spMkLst>
        </pc:spChg>
        <pc:spChg chg="mod ord">
          <ac:chgData name="Vikesh Chugani" userId="9c759398cfaae00f" providerId="LiveId" clId="{9DD1F36D-C7B4-4854-8DA3-DF51EDD7316B}" dt="2025-08-20T13:35:49.818" v="2196" actId="207"/>
          <ac:spMkLst>
            <pc:docMk/>
            <pc:sldMk cId="3332988729" sldId="2203"/>
            <ac:spMk id="62" creationId="{709EAF67-D945-3B2F-452F-BA5C748B514C}"/>
          </ac:spMkLst>
        </pc:spChg>
        <pc:spChg chg="mod ord">
          <ac:chgData name="Vikesh Chugani" userId="9c759398cfaae00f" providerId="LiveId" clId="{9DD1F36D-C7B4-4854-8DA3-DF51EDD7316B}" dt="2025-08-20T13:35:52.977" v="2197" actId="207"/>
          <ac:spMkLst>
            <pc:docMk/>
            <pc:sldMk cId="3332988729" sldId="2203"/>
            <ac:spMk id="63" creationId="{34A71CA8-3219-BA92-DECF-20ECDC1A1B4A}"/>
          </ac:spMkLst>
        </pc:spChg>
        <pc:spChg chg="mod ord">
          <ac:chgData name="Vikesh Chugani" userId="9c759398cfaae00f" providerId="LiveId" clId="{9DD1F36D-C7B4-4854-8DA3-DF51EDD7316B}" dt="2025-08-20T13:32:41.847" v="2045" actId="20577"/>
          <ac:spMkLst>
            <pc:docMk/>
            <pc:sldMk cId="3332988729" sldId="2203"/>
            <ac:spMk id="74" creationId="{E306FC7A-E6DB-4607-5A1B-CA04C62043E2}"/>
          </ac:spMkLst>
        </pc:spChg>
        <pc:spChg chg="mod ord">
          <ac:chgData name="Vikesh Chugani" userId="9c759398cfaae00f" providerId="LiveId" clId="{9DD1F36D-C7B4-4854-8DA3-DF51EDD7316B}" dt="2025-08-20T13:40:09.482" v="2222" actId="1076"/>
          <ac:spMkLst>
            <pc:docMk/>
            <pc:sldMk cId="3332988729" sldId="2203"/>
            <ac:spMk id="80" creationId="{772BB5D2-738B-633F-D008-4F3B8D210209}"/>
          </ac:spMkLst>
        </pc:spChg>
        <pc:spChg chg="mod ord">
          <ac:chgData name="Vikesh Chugani" userId="9c759398cfaae00f" providerId="LiveId" clId="{9DD1F36D-C7B4-4854-8DA3-DF51EDD7316B}" dt="2025-08-20T13:33:31.044" v="2055" actId="20577"/>
          <ac:spMkLst>
            <pc:docMk/>
            <pc:sldMk cId="3332988729" sldId="2203"/>
            <ac:spMk id="92" creationId="{BDAD8FC5-111A-0A53-2D23-57CDE746AAE0}"/>
          </ac:spMkLst>
        </pc:spChg>
        <pc:grpChg chg="add del mod">
          <ac:chgData name="Vikesh Chugani" userId="9c759398cfaae00f" providerId="LiveId" clId="{9DD1F36D-C7B4-4854-8DA3-DF51EDD7316B}" dt="2025-08-20T13:36:16.554" v="2201" actId="478"/>
          <ac:grpSpMkLst>
            <pc:docMk/>
            <pc:sldMk cId="3332988729" sldId="2203"/>
            <ac:grpSpMk id="14" creationId="{122090BB-191C-3942-72AC-2A9D4D4F5ECE}"/>
          </ac:grpSpMkLst>
        </pc:grpChg>
        <pc:grpChg chg="mod ord">
          <ac:chgData name="Vikesh Chugani" userId="9c759398cfaae00f" providerId="LiveId" clId="{9DD1F36D-C7B4-4854-8DA3-DF51EDD7316B}" dt="2025-08-20T13:36:39.039" v="2210" actId="1076"/>
          <ac:grpSpMkLst>
            <pc:docMk/>
            <pc:sldMk cId="3332988729" sldId="2203"/>
            <ac:grpSpMk id="77" creationId="{DFD1EAD3-5423-BCF4-3E0B-43335256AB3B}"/>
          </ac:grpSpMkLst>
        </pc:grpChg>
        <pc:graphicFrameChg chg="mod">
          <ac:chgData name="Vikesh Chugani" userId="9c759398cfaae00f" providerId="LiveId" clId="{9DD1F36D-C7B4-4854-8DA3-DF51EDD7316B}" dt="2025-08-20T13:34:10.714" v="2161"/>
          <ac:graphicFrameMkLst>
            <pc:docMk/>
            <pc:sldMk cId="3332988729" sldId="2203"/>
            <ac:graphicFrameMk id="4" creationId="{13957B04-D5A6-D67F-DF92-15E1E096F126}"/>
          </ac:graphicFrameMkLst>
        </pc:graphicFrameChg>
        <pc:picChg chg="del mod topLvl">
          <ac:chgData name="Vikesh Chugani" userId="9c759398cfaae00f" providerId="LiveId" clId="{9DD1F36D-C7B4-4854-8DA3-DF51EDD7316B}" dt="2025-08-20T13:39:59.248" v="2217" actId="478"/>
          <ac:picMkLst>
            <pc:docMk/>
            <pc:sldMk cId="3332988729" sldId="2203"/>
            <ac:picMk id="16" creationId="{33193F8C-6A9C-AE41-D931-4869087FDADD}"/>
          </ac:picMkLst>
        </pc:picChg>
        <pc:picChg chg="add mod">
          <ac:chgData name="Vikesh Chugani" userId="9c759398cfaae00f" providerId="LiveId" clId="{9DD1F36D-C7B4-4854-8DA3-DF51EDD7316B}" dt="2025-08-20T13:40:04.756" v="2220" actId="14100"/>
          <ac:picMkLst>
            <pc:docMk/>
            <pc:sldMk cId="3332988729" sldId="2203"/>
            <ac:picMk id="17" creationId="{48151F37-0FB2-2983-4440-1D86065B2C14}"/>
          </ac:picMkLst>
        </pc:picChg>
        <pc:picChg chg="mod ord">
          <ac:chgData name="Vikesh Chugani" userId="9c759398cfaae00f" providerId="LiveId" clId="{9DD1F36D-C7B4-4854-8DA3-DF51EDD7316B}" dt="2025-08-20T13:32:16.600" v="2010"/>
          <ac:picMkLst>
            <pc:docMk/>
            <pc:sldMk cId="3332988729" sldId="2203"/>
            <ac:picMk id="70" creationId="{511B8D19-FE2C-1325-E702-8EBCC6E9A09C}"/>
          </ac:picMkLst>
        </pc:picChg>
        <pc:picChg chg="del mod ord">
          <ac:chgData name="Vikesh Chugani" userId="9c759398cfaae00f" providerId="LiveId" clId="{9DD1F36D-C7B4-4854-8DA3-DF51EDD7316B}" dt="2025-08-20T13:33:03.909" v="2048" actId="478"/>
          <ac:picMkLst>
            <pc:docMk/>
            <pc:sldMk cId="3332988729" sldId="2203"/>
            <ac:picMk id="76" creationId="{23BBDE41-9A77-BE61-6882-00C02D77A609}"/>
          </ac:picMkLst>
        </pc:picChg>
        <pc:picChg chg="mod ord">
          <ac:chgData name="Vikesh Chugani" userId="9c759398cfaae00f" providerId="LiveId" clId="{9DD1F36D-C7B4-4854-8DA3-DF51EDD7316B}" dt="2025-08-20T13:32:24.711" v="2039" actId="1076"/>
          <ac:picMkLst>
            <pc:docMk/>
            <pc:sldMk cId="3332988729" sldId="2203"/>
            <ac:picMk id="91" creationId="{8585A02A-954D-AFF0-DE0B-8684C29BEF8D}"/>
          </ac:picMkLst>
        </pc:picChg>
        <pc:picChg chg="mod ord">
          <ac:chgData name="Vikesh Chugani" userId="9c759398cfaae00f" providerId="LiveId" clId="{9DD1F36D-C7B4-4854-8DA3-DF51EDD7316B}" dt="2025-08-20T13:37:57.516" v="2216" actId="1076"/>
          <ac:picMkLst>
            <pc:docMk/>
            <pc:sldMk cId="3332988729" sldId="2203"/>
            <ac:picMk id="93" creationId="{7F5203F0-6A34-9C30-EAE2-3F14FF725966}"/>
          </ac:picMkLst>
        </pc:picChg>
        <pc:picChg chg="mod ord">
          <ac:chgData name="Vikesh Chugani" userId="9c759398cfaae00f" providerId="LiveId" clId="{9DD1F36D-C7B4-4854-8DA3-DF51EDD7316B}" dt="2025-08-20T13:32:16.605" v="2024"/>
          <ac:picMkLst>
            <pc:docMk/>
            <pc:sldMk cId="3332988729" sldId="2203"/>
            <ac:picMk id="94" creationId="{657B0CBC-34CA-A173-9FDB-94909FB86DBD}"/>
          </ac:picMkLst>
        </pc:picChg>
        <pc:picChg chg="mod ord">
          <ac:chgData name="Vikesh Chugani" userId="9c759398cfaae00f" providerId="LiveId" clId="{9DD1F36D-C7B4-4854-8DA3-DF51EDD7316B}" dt="2025-08-20T13:32:16.605" v="2026"/>
          <ac:picMkLst>
            <pc:docMk/>
            <pc:sldMk cId="3332988729" sldId="2203"/>
            <ac:picMk id="95" creationId="{A76968D0-4514-4FB9-03FA-49CDB5F59E6D}"/>
          </ac:picMkLst>
        </pc:picChg>
      </pc:sldChg>
      <pc:sldChg chg="modSp add del mod ord">
        <pc:chgData name="Vikesh Chugani" userId="9c759398cfaae00f" providerId="LiveId" clId="{9DD1F36D-C7B4-4854-8DA3-DF51EDD7316B}" dt="2025-08-18T16:42:53.570" v="397" actId="47"/>
        <pc:sldMkLst>
          <pc:docMk/>
          <pc:sldMk cId="1750207331" sldId="2204"/>
        </pc:sldMkLst>
      </pc:sldChg>
      <pc:sldChg chg="modSp add del mod">
        <pc:chgData name="Vikesh Chugani" userId="9c759398cfaae00f" providerId="LiveId" clId="{9DD1F36D-C7B4-4854-8DA3-DF51EDD7316B}" dt="2025-08-18T15:29:24.195" v="317"/>
        <pc:sldMkLst>
          <pc:docMk/>
          <pc:sldMk cId="1926914566" sldId="2204"/>
        </pc:sldMkLst>
      </pc:sldChg>
      <pc:sldChg chg="addSp delSp modSp add del mod ord">
        <pc:chgData name="Vikesh Chugani" userId="9c759398cfaae00f" providerId="LiveId" clId="{9DD1F36D-C7B4-4854-8DA3-DF51EDD7316B}" dt="2025-08-20T13:50:51.711" v="2497" actId="47"/>
        <pc:sldMkLst>
          <pc:docMk/>
          <pc:sldMk cId="2221814323" sldId="2205"/>
        </pc:sldMkLst>
      </pc:sldChg>
      <pc:sldChg chg="modSp add del mod">
        <pc:chgData name="Vikesh Chugani" userId="9c759398cfaae00f" providerId="LiveId" clId="{9DD1F36D-C7B4-4854-8DA3-DF51EDD7316B}" dt="2025-08-18T15:29:24.195" v="317"/>
        <pc:sldMkLst>
          <pc:docMk/>
          <pc:sldMk cId="2587140253" sldId="2205"/>
        </pc:sldMkLst>
      </pc:sldChg>
      <pc:sldChg chg="addSp delSp modSp add mod ord">
        <pc:chgData name="Vikesh Chugani" userId="9c759398cfaae00f" providerId="LiveId" clId="{9DD1F36D-C7B4-4854-8DA3-DF51EDD7316B}" dt="2025-08-20T14:49:49.825" v="2605"/>
        <pc:sldMkLst>
          <pc:docMk/>
          <pc:sldMk cId="412385012" sldId="2206"/>
        </pc:sldMkLst>
        <pc:spChg chg="add mod">
          <ac:chgData name="Vikesh Chugani" userId="9c759398cfaae00f" providerId="LiveId" clId="{9DD1F36D-C7B4-4854-8DA3-DF51EDD7316B}" dt="2025-08-20T13:29:37.360" v="1923" actId="207"/>
          <ac:spMkLst>
            <pc:docMk/>
            <pc:sldMk cId="412385012" sldId="2206"/>
            <ac:spMk id="2" creationId="{C80A3A27-FBDE-A43A-5212-4D9467EE0F8D}"/>
          </ac:spMkLst>
        </pc:spChg>
        <pc:spChg chg="del">
          <ac:chgData name="Vikesh Chugani" userId="9c759398cfaae00f" providerId="LiveId" clId="{9DD1F36D-C7B4-4854-8DA3-DF51EDD7316B}" dt="2025-08-20T13:23:35.277" v="1747" actId="478"/>
          <ac:spMkLst>
            <pc:docMk/>
            <pc:sldMk cId="412385012" sldId="2206"/>
            <ac:spMk id="6" creationId="{5D2373C1-EE81-46C2-A95F-8D059BA274F0}"/>
          </ac:spMkLst>
        </pc:spChg>
        <pc:spChg chg="mod">
          <ac:chgData name="Vikesh Chugani" userId="9c759398cfaae00f" providerId="LiveId" clId="{9DD1F36D-C7B4-4854-8DA3-DF51EDD7316B}" dt="2025-08-20T13:26:00.157" v="1835" actId="20577"/>
          <ac:spMkLst>
            <pc:docMk/>
            <pc:sldMk cId="412385012" sldId="2206"/>
            <ac:spMk id="54" creationId="{68030A09-0AA9-4758-BB6D-704058817D1D}"/>
          </ac:spMkLst>
        </pc:spChg>
        <pc:picChg chg="mod">
          <ac:chgData name="Vikesh Chugani" userId="9c759398cfaae00f" providerId="LiveId" clId="{9DD1F36D-C7B4-4854-8DA3-DF51EDD7316B}" dt="2025-08-20T13:23:45.396" v="1750" actId="1076"/>
          <ac:picMkLst>
            <pc:docMk/>
            <pc:sldMk cId="412385012" sldId="2206"/>
            <ac:picMk id="9" creationId="{0AE8FC19-2D7E-FA48-0A99-AE26EDBEF554}"/>
          </ac:picMkLst>
        </pc:picChg>
        <pc:cxnChg chg="add del mod">
          <ac:chgData name="Vikesh Chugani" userId="9c759398cfaae00f" providerId="LiveId" clId="{9DD1F36D-C7B4-4854-8DA3-DF51EDD7316B}" dt="2025-08-20T13:24:48.256" v="1776" actId="478"/>
          <ac:cxnSpMkLst>
            <pc:docMk/>
            <pc:sldMk cId="412385012" sldId="2206"/>
            <ac:cxnSpMk id="5" creationId="{9EFAF150-4B97-E3E3-71BF-181C2135F4F6}"/>
          </ac:cxnSpMkLst>
        </pc:cxnChg>
      </pc:sldChg>
      <pc:sldChg chg="add del">
        <pc:chgData name="Vikesh Chugani" userId="9c759398cfaae00f" providerId="LiveId" clId="{9DD1F36D-C7B4-4854-8DA3-DF51EDD7316B}" dt="2025-08-18T16:43:07.887" v="399"/>
        <pc:sldMkLst>
          <pc:docMk/>
          <pc:sldMk cId="521237782" sldId="2206"/>
        </pc:sldMkLst>
      </pc:sldChg>
      <pc:sldChg chg="addSp delSp modSp add del mod">
        <pc:chgData name="Vikesh Chugani" userId="9c759398cfaae00f" providerId="LiveId" clId="{9DD1F36D-C7B4-4854-8DA3-DF51EDD7316B}" dt="2025-08-20T10:38:12.599" v="1567" actId="47"/>
        <pc:sldMkLst>
          <pc:docMk/>
          <pc:sldMk cId="3354985650" sldId="2207"/>
        </pc:sldMkLst>
        <pc:spChg chg="add del mod modVis">
          <ac:chgData name="Vikesh Chugani" userId="9c759398cfaae00f" providerId="LiveId" clId="{9DD1F36D-C7B4-4854-8DA3-DF51EDD7316B}" dt="2025-08-20T10:17:00.233" v="587"/>
          <ac:spMkLst>
            <pc:docMk/>
            <pc:sldMk cId="3354985650" sldId="2207"/>
            <ac:spMk id="2" creationId="{C55806F2-FB09-6139-3F35-75FB94CDEAB3}"/>
          </ac:spMkLst>
        </pc:spChg>
        <pc:spChg chg="mod">
          <ac:chgData name="Vikesh Chugani" userId="9c759398cfaae00f" providerId="LiveId" clId="{9DD1F36D-C7B4-4854-8DA3-DF51EDD7316B}" dt="2025-08-20T10:17:00.233" v="587"/>
          <ac:spMkLst>
            <pc:docMk/>
            <pc:sldMk cId="3354985650" sldId="2207"/>
            <ac:spMk id="4" creationId="{CC7FEF2F-5ABD-4E8A-FBBD-943689AF0DFA}"/>
          </ac:spMkLst>
        </pc:spChg>
        <pc:graphicFrameChg chg="mod">
          <ac:chgData name="Vikesh Chugani" userId="9c759398cfaae00f" providerId="LiveId" clId="{9DD1F36D-C7B4-4854-8DA3-DF51EDD7316B}" dt="2025-08-20T10:17:00.240" v="589"/>
          <ac:graphicFrameMkLst>
            <pc:docMk/>
            <pc:sldMk cId="3354985650" sldId="2207"/>
            <ac:graphicFrameMk id="65" creationId="{0FE5545C-9EB4-5B1E-0F94-C261044071ED}"/>
          </ac:graphicFrameMkLst>
        </pc:graphicFrameChg>
      </pc:sldChg>
      <pc:sldChg chg="addSp delSp modSp add mod">
        <pc:chgData name="Vikesh Chugani" userId="9c759398cfaae00f" providerId="LiveId" clId="{9DD1F36D-C7B4-4854-8DA3-DF51EDD7316B}" dt="2025-08-20T14:47:11.168" v="2510" actId="108"/>
        <pc:sldMkLst>
          <pc:docMk/>
          <pc:sldMk cId="903786285" sldId="2208"/>
        </pc:sldMkLst>
        <pc:spChg chg="del">
          <ac:chgData name="Vikesh Chugani" userId="9c759398cfaae00f" providerId="LiveId" clId="{9DD1F36D-C7B4-4854-8DA3-DF51EDD7316B}" dt="2025-08-20T10:17:14.567" v="607"/>
          <ac:spMkLst>
            <pc:docMk/>
            <pc:sldMk cId="903786285" sldId="2208"/>
            <ac:spMk id="3" creationId="{36A29C99-75ED-38D1-61A6-32AC0FA2EDB9}"/>
          </ac:spMkLst>
        </pc:spChg>
        <pc:spChg chg="mod ord">
          <ac:chgData name="Vikesh Chugani" userId="9c759398cfaae00f" providerId="LiveId" clId="{9DD1F36D-C7B4-4854-8DA3-DF51EDD7316B}" dt="2025-08-20T10:19:23.197" v="1403"/>
          <ac:spMkLst>
            <pc:docMk/>
            <pc:sldMk cId="903786285" sldId="2208"/>
            <ac:spMk id="4" creationId="{8CD179B1-64FA-5BBC-14F5-EE256B80DC46}"/>
          </ac:spMkLst>
        </pc:spChg>
        <pc:spChg chg="mod ord">
          <ac:chgData name="Vikesh Chugani" userId="9c759398cfaae00f" providerId="LiveId" clId="{9DD1F36D-C7B4-4854-8DA3-DF51EDD7316B}" dt="2025-08-20T14:47:11.168" v="2510" actId="108"/>
          <ac:spMkLst>
            <pc:docMk/>
            <pc:sldMk cId="903786285" sldId="2208"/>
            <ac:spMk id="5" creationId="{65E4C2B8-841F-EEB6-446F-A9915DBA44D6}"/>
          </ac:spMkLst>
        </pc:spChg>
        <pc:spChg chg="del">
          <ac:chgData name="Vikesh Chugani" userId="9c759398cfaae00f" providerId="LiveId" clId="{9DD1F36D-C7B4-4854-8DA3-DF51EDD7316B}" dt="2025-08-20T10:17:14.565" v="603"/>
          <ac:spMkLst>
            <pc:docMk/>
            <pc:sldMk cId="903786285" sldId="2208"/>
            <ac:spMk id="7" creationId="{E4A05C49-4C0D-17E5-7BDD-B262A0BBE608}"/>
          </ac:spMkLst>
        </pc:spChg>
        <pc:spChg chg="add mod ord">
          <ac:chgData name="Vikesh Chugani" userId="9c759398cfaae00f" providerId="LiveId" clId="{9DD1F36D-C7B4-4854-8DA3-DF51EDD7316B}" dt="2025-08-20T10:17:17.281" v="747"/>
          <ac:spMkLst>
            <pc:docMk/>
            <pc:sldMk cId="903786285" sldId="2208"/>
            <ac:spMk id="8" creationId="{031B80A7-C57F-09A6-4F6A-162AA69D1CD5}"/>
          </ac:spMkLst>
        </pc:spChg>
        <pc:spChg chg="add mod ord">
          <ac:chgData name="Vikesh Chugani" userId="9c759398cfaae00f" providerId="LiveId" clId="{9DD1F36D-C7B4-4854-8DA3-DF51EDD7316B}" dt="2025-08-20T10:17:17.281" v="747"/>
          <ac:spMkLst>
            <pc:docMk/>
            <pc:sldMk cId="903786285" sldId="2208"/>
            <ac:spMk id="9" creationId="{09ABE141-348D-A4E7-E0D7-CB25D14A1369}"/>
          </ac:spMkLst>
        </pc:spChg>
        <pc:spChg chg="add mod ord">
          <ac:chgData name="Vikesh Chugani" userId="9c759398cfaae00f" providerId="LiveId" clId="{9DD1F36D-C7B4-4854-8DA3-DF51EDD7316B}" dt="2025-08-20T10:17:17.281" v="747"/>
          <ac:spMkLst>
            <pc:docMk/>
            <pc:sldMk cId="903786285" sldId="2208"/>
            <ac:spMk id="10" creationId="{09B345D2-BE99-9E7E-BFEC-411466D56321}"/>
          </ac:spMkLst>
        </pc:spChg>
        <pc:spChg chg="mod ord">
          <ac:chgData name="Vikesh Chugani" userId="9c759398cfaae00f" providerId="LiveId" clId="{9DD1F36D-C7B4-4854-8DA3-DF51EDD7316B}" dt="2025-08-20T10:17:17.267" v="738"/>
          <ac:spMkLst>
            <pc:docMk/>
            <pc:sldMk cId="903786285" sldId="2208"/>
            <ac:spMk id="11" creationId="{21C664D9-2D03-47ED-E276-01E55DFC3D8E}"/>
          </ac:spMkLst>
        </pc:spChg>
        <pc:spChg chg="mod ord">
          <ac:chgData name="Vikesh Chugani" userId="9c759398cfaae00f" providerId="LiveId" clId="{9DD1F36D-C7B4-4854-8DA3-DF51EDD7316B}" dt="2025-08-20T10:17:17.266" v="737"/>
          <ac:spMkLst>
            <pc:docMk/>
            <pc:sldMk cId="903786285" sldId="2208"/>
            <ac:spMk id="12" creationId="{4BC04FB6-FEDF-67E7-E62F-7115B97C8D6E}"/>
          </ac:spMkLst>
        </pc:spChg>
        <pc:spChg chg="mod ord">
          <ac:chgData name="Vikesh Chugani" userId="9c759398cfaae00f" providerId="LiveId" clId="{9DD1F36D-C7B4-4854-8DA3-DF51EDD7316B}" dt="2025-08-20T10:17:17.266" v="736"/>
          <ac:spMkLst>
            <pc:docMk/>
            <pc:sldMk cId="903786285" sldId="2208"/>
            <ac:spMk id="13" creationId="{95086DAE-F28B-B459-8636-27CB8070A9D5}"/>
          </ac:spMkLst>
        </pc:spChg>
        <pc:spChg chg="add mod ord">
          <ac:chgData name="Vikesh Chugani" userId="9c759398cfaae00f" providerId="LiveId" clId="{9DD1F36D-C7B4-4854-8DA3-DF51EDD7316B}" dt="2025-08-20T10:17:17.281" v="747"/>
          <ac:spMkLst>
            <pc:docMk/>
            <pc:sldMk cId="903786285" sldId="2208"/>
            <ac:spMk id="14" creationId="{32FB9486-7FE6-C396-BC13-8096405148FB}"/>
          </ac:spMkLst>
        </pc:spChg>
        <pc:spChg chg="mod ord">
          <ac:chgData name="Vikesh Chugani" userId="9c759398cfaae00f" providerId="LiveId" clId="{9DD1F36D-C7B4-4854-8DA3-DF51EDD7316B}" dt="2025-08-20T10:17:17.266" v="734"/>
          <ac:spMkLst>
            <pc:docMk/>
            <pc:sldMk cId="903786285" sldId="2208"/>
            <ac:spMk id="15" creationId="{2EE659B2-A184-7DE5-F0C8-35CF380D4AF3}"/>
          </ac:spMkLst>
        </pc:spChg>
        <pc:spChg chg="mod ord">
          <ac:chgData name="Vikesh Chugani" userId="9c759398cfaae00f" providerId="LiveId" clId="{9DD1F36D-C7B4-4854-8DA3-DF51EDD7316B}" dt="2025-08-20T10:17:17.265" v="733"/>
          <ac:spMkLst>
            <pc:docMk/>
            <pc:sldMk cId="903786285" sldId="2208"/>
            <ac:spMk id="16" creationId="{ED4DA825-CE72-6FBE-6C0C-0FD31C80CC2B}"/>
          </ac:spMkLst>
        </pc:spChg>
        <pc:spChg chg="mod ord">
          <ac:chgData name="Vikesh Chugani" userId="9c759398cfaae00f" providerId="LiveId" clId="{9DD1F36D-C7B4-4854-8DA3-DF51EDD7316B}" dt="2025-08-20T10:17:17.265" v="732"/>
          <ac:spMkLst>
            <pc:docMk/>
            <pc:sldMk cId="903786285" sldId="2208"/>
            <ac:spMk id="17" creationId="{969C5D53-6B22-4133-443A-3048582A11A2}"/>
          </ac:spMkLst>
        </pc:spChg>
        <pc:spChg chg="mod">
          <ac:chgData name="Vikesh Chugani" userId="9c759398cfaae00f" providerId="LiveId" clId="{9DD1F36D-C7B4-4854-8DA3-DF51EDD7316B}" dt="2025-08-20T10:17:15.757" v="679"/>
          <ac:spMkLst>
            <pc:docMk/>
            <pc:sldMk cId="903786285" sldId="2208"/>
            <ac:spMk id="21" creationId="{A91FCB15-80E3-3112-6BCF-CC985803339D}"/>
          </ac:spMkLst>
        </pc:spChg>
        <pc:spChg chg="add mod ord">
          <ac:chgData name="Vikesh Chugani" userId="9c759398cfaae00f" providerId="LiveId" clId="{9DD1F36D-C7B4-4854-8DA3-DF51EDD7316B}" dt="2025-08-20T10:17:17.281" v="747"/>
          <ac:spMkLst>
            <pc:docMk/>
            <pc:sldMk cId="903786285" sldId="2208"/>
            <ac:spMk id="22" creationId="{4A9CD519-1427-94F4-1EDC-BCBFB0085AB7}"/>
          </ac:spMkLst>
        </pc:spChg>
        <pc:spChg chg="mod ord">
          <ac:chgData name="Vikesh Chugani" userId="9c759398cfaae00f" providerId="LiveId" clId="{9DD1F36D-C7B4-4854-8DA3-DF51EDD7316B}" dt="2025-08-20T10:17:17.281" v="747"/>
          <ac:spMkLst>
            <pc:docMk/>
            <pc:sldMk cId="903786285" sldId="2208"/>
            <ac:spMk id="23" creationId="{A07C511A-83A3-B148-3C02-6BD12FB31EA1}"/>
          </ac:spMkLst>
        </pc:spChg>
        <pc:spChg chg="add mod ord">
          <ac:chgData name="Vikesh Chugani" userId="9c759398cfaae00f" providerId="LiveId" clId="{9DD1F36D-C7B4-4854-8DA3-DF51EDD7316B}" dt="2025-08-20T10:17:17.281" v="747"/>
          <ac:spMkLst>
            <pc:docMk/>
            <pc:sldMk cId="903786285" sldId="2208"/>
            <ac:spMk id="24" creationId="{BD04704F-EF14-ED03-EC13-CA42B73DAD1B}"/>
          </ac:spMkLst>
        </pc:spChg>
        <pc:spChg chg="add mod ord">
          <ac:chgData name="Vikesh Chugani" userId="9c759398cfaae00f" providerId="LiveId" clId="{9DD1F36D-C7B4-4854-8DA3-DF51EDD7316B}" dt="2025-08-20T10:17:17.281" v="747"/>
          <ac:spMkLst>
            <pc:docMk/>
            <pc:sldMk cId="903786285" sldId="2208"/>
            <ac:spMk id="25" creationId="{8DA1B176-ECA0-FBD5-4491-1D5B8F33FED2}"/>
          </ac:spMkLst>
        </pc:spChg>
        <pc:spChg chg="mod ord">
          <ac:chgData name="Vikesh Chugani" userId="9c759398cfaae00f" providerId="LiveId" clId="{9DD1F36D-C7B4-4854-8DA3-DF51EDD7316B}" dt="2025-08-20T10:17:17.264" v="727"/>
          <ac:spMkLst>
            <pc:docMk/>
            <pc:sldMk cId="903786285" sldId="2208"/>
            <ac:spMk id="26" creationId="{CBF1986F-D607-D69E-3A40-7A384387E341}"/>
          </ac:spMkLst>
        </pc:spChg>
        <pc:spChg chg="mod ord">
          <ac:chgData name="Vikesh Chugani" userId="9c759398cfaae00f" providerId="LiveId" clId="{9DD1F36D-C7B4-4854-8DA3-DF51EDD7316B}" dt="2025-08-20T10:17:17.281" v="747"/>
          <ac:spMkLst>
            <pc:docMk/>
            <pc:sldMk cId="903786285" sldId="2208"/>
            <ac:spMk id="27" creationId="{40FE6BA1-4921-FADE-40C7-BE493D437AD5}"/>
          </ac:spMkLst>
        </pc:spChg>
        <pc:spChg chg="mod ord">
          <ac:chgData name="Vikesh Chugani" userId="9c759398cfaae00f" providerId="LiveId" clId="{9DD1F36D-C7B4-4854-8DA3-DF51EDD7316B}" dt="2025-08-20T10:17:17.263" v="725"/>
          <ac:spMkLst>
            <pc:docMk/>
            <pc:sldMk cId="903786285" sldId="2208"/>
            <ac:spMk id="28" creationId="{E09F34DC-BD0E-5707-B7E5-5A4E340DF45C}"/>
          </ac:spMkLst>
        </pc:spChg>
        <pc:spChg chg="mod ord">
          <ac:chgData name="Vikesh Chugani" userId="9c759398cfaae00f" providerId="LiveId" clId="{9DD1F36D-C7B4-4854-8DA3-DF51EDD7316B}" dt="2025-08-20T10:17:17.263" v="724"/>
          <ac:spMkLst>
            <pc:docMk/>
            <pc:sldMk cId="903786285" sldId="2208"/>
            <ac:spMk id="29" creationId="{473DF4F6-1D9B-8E23-EC36-D42AA7D31ABA}"/>
          </ac:spMkLst>
        </pc:spChg>
        <pc:spChg chg="mod">
          <ac:chgData name="Vikesh Chugani" userId="9c759398cfaae00f" providerId="LiveId" clId="{9DD1F36D-C7B4-4854-8DA3-DF51EDD7316B}" dt="2025-08-20T10:17:15.714" v="647"/>
          <ac:spMkLst>
            <pc:docMk/>
            <pc:sldMk cId="903786285" sldId="2208"/>
            <ac:spMk id="38" creationId="{6CAC34AB-141D-5BC8-3A5D-0063CE214F3A}"/>
          </ac:spMkLst>
        </pc:spChg>
        <pc:spChg chg="del">
          <ac:chgData name="Vikesh Chugani" userId="9c759398cfaae00f" providerId="LiveId" clId="{9DD1F36D-C7B4-4854-8DA3-DF51EDD7316B}" dt="2025-08-20T10:17:14.558" v="592"/>
          <ac:spMkLst>
            <pc:docMk/>
            <pc:sldMk cId="903786285" sldId="2208"/>
            <ac:spMk id="42" creationId="{9ED5795A-D837-340B-0EF9-398144725AB0}"/>
          </ac:spMkLst>
        </pc:spChg>
        <pc:spChg chg="del">
          <ac:chgData name="Vikesh Chugani" userId="9c759398cfaae00f" providerId="LiveId" clId="{9DD1F36D-C7B4-4854-8DA3-DF51EDD7316B}" dt="2025-08-20T10:17:14.585" v="638"/>
          <ac:spMkLst>
            <pc:docMk/>
            <pc:sldMk cId="903786285" sldId="2208"/>
            <ac:spMk id="43" creationId="{2EED9797-3D8B-E83C-AF6D-0BF845B94CA8}"/>
          </ac:spMkLst>
        </pc:spChg>
        <pc:spChg chg="del">
          <ac:chgData name="Vikesh Chugani" userId="9c759398cfaae00f" providerId="LiveId" clId="{9DD1F36D-C7B4-4854-8DA3-DF51EDD7316B}" dt="2025-08-20T10:17:14.582" v="632"/>
          <ac:spMkLst>
            <pc:docMk/>
            <pc:sldMk cId="903786285" sldId="2208"/>
            <ac:spMk id="44" creationId="{3D2640F3-91DA-F0A3-F521-B10B0481E0CD}"/>
          </ac:spMkLst>
        </pc:spChg>
        <pc:spChg chg="del">
          <ac:chgData name="Vikesh Chugani" userId="9c759398cfaae00f" providerId="LiveId" clId="{9DD1F36D-C7B4-4854-8DA3-DF51EDD7316B}" dt="2025-08-20T10:17:14.559" v="594"/>
          <ac:spMkLst>
            <pc:docMk/>
            <pc:sldMk cId="903786285" sldId="2208"/>
            <ac:spMk id="45" creationId="{D6021169-0552-02BE-3A3E-C44E6F6489F6}"/>
          </ac:spMkLst>
        </pc:spChg>
        <pc:spChg chg="del">
          <ac:chgData name="Vikesh Chugani" userId="9c759398cfaae00f" providerId="LiveId" clId="{9DD1F36D-C7B4-4854-8DA3-DF51EDD7316B}" dt="2025-08-20T10:17:14.571" v="613"/>
          <ac:spMkLst>
            <pc:docMk/>
            <pc:sldMk cId="903786285" sldId="2208"/>
            <ac:spMk id="46" creationId="{7A701C2C-D325-1F3A-3C23-831CE98D2FED}"/>
          </ac:spMkLst>
        </pc:spChg>
        <pc:spChg chg="del">
          <ac:chgData name="Vikesh Chugani" userId="9c759398cfaae00f" providerId="LiveId" clId="{9DD1F36D-C7B4-4854-8DA3-DF51EDD7316B}" dt="2025-08-20T10:17:14.577" v="624"/>
          <ac:spMkLst>
            <pc:docMk/>
            <pc:sldMk cId="903786285" sldId="2208"/>
            <ac:spMk id="47" creationId="{9495229A-1B9F-121E-C8FE-965A7F1A0D39}"/>
          </ac:spMkLst>
        </pc:spChg>
        <pc:spChg chg="del">
          <ac:chgData name="Vikesh Chugani" userId="9c759398cfaae00f" providerId="LiveId" clId="{9DD1F36D-C7B4-4854-8DA3-DF51EDD7316B}" dt="2025-08-20T10:17:14.583" v="634"/>
          <ac:spMkLst>
            <pc:docMk/>
            <pc:sldMk cId="903786285" sldId="2208"/>
            <ac:spMk id="48" creationId="{E2648B0E-C92A-6DED-35FA-9350B2128E4C}"/>
          </ac:spMkLst>
        </pc:spChg>
        <pc:spChg chg="del">
          <ac:chgData name="Vikesh Chugani" userId="9c759398cfaae00f" providerId="LiveId" clId="{9DD1F36D-C7B4-4854-8DA3-DF51EDD7316B}" dt="2025-08-20T10:17:14.569" v="609"/>
          <ac:spMkLst>
            <pc:docMk/>
            <pc:sldMk cId="903786285" sldId="2208"/>
            <ac:spMk id="49" creationId="{E4C8DEE8-80C6-BEEE-C998-0CA67651FCC9}"/>
          </ac:spMkLst>
        </pc:spChg>
        <pc:spChg chg="del">
          <ac:chgData name="Vikesh Chugani" userId="9c759398cfaae00f" providerId="LiveId" clId="{9DD1F36D-C7B4-4854-8DA3-DF51EDD7316B}" dt="2025-08-20T10:17:14.584" v="636"/>
          <ac:spMkLst>
            <pc:docMk/>
            <pc:sldMk cId="903786285" sldId="2208"/>
            <ac:spMk id="50" creationId="{0D25BFD3-9E90-352B-1DCB-F500CFF0159A}"/>
          </ac:spMkLst>
        </pc:spChg>
        <pc:spChg chg="mod">
          <ac:chgData name="Vikesh Chugani" userId="9c759398cfaae00f" providerId="LiveId" clId="{9DD1F36D-C7B4-4854-8DA3-DF51EDD7316B}" dt="2025-08-20T10:17:15.714" v="647"/>
          <ac:spMkLst>
            <pc:docMk/>
            <pc:sldMk cId="903786285" sldId="2208"/>
            <ac:spMk id="51" creationId="{0C3297FF-2885-DA9B-E9F7-24C38D5A15AA}"/>
          </ac:spMkLst>
        </pc:spChg>
        <pc:spChg chg="add mod ord">
          <ac:chgData name="Vikesh Chugani" userId="9c759398cfaae00f" providerId="LiveId" clId="{9DD1F36D-C7B4-4854-8DA3-DF51EDD7316B}" dt="2025-08-20T10:17:17.281" v="747"/>
          <ac:spMkLst>
            <pc:docMk/>
            <pc:sldMk cId="903786285" sldId="2208"/>
            <ac:spMk id="54" creationId="{39EECA4B-0916-508E-4E57-7913654386A6}"/>
          </ac:spMkLst>
        </pc:spChg>
        <pc:spChg chg="mod ord">
          <ac:chgData name="Vikesh Chugani" userId="9c759398cfaae00f" providerId="LiveId" clId="{9DD1F36D-C7B4-4854-8DA3-DF51EDD7316B}" dt="2025-08-20T10:17:17.261" v="720"/>
          <ac:spMkLst>
            <pc:docMk/>
            <pc:sldMk cId="903786285" sldId="2208"/>
            <ac:spMk id="55" creationId="{02CC5DF8-C152-766D-C593-B46765111B1A}"/>
          </ac:spMkLst>
        </pc:spChg>
        <pc:spChg chg="mod ord">
          <ac:chgData name="Vikesh Chugani" userId="9c759398cfaae00f" providerId="LiveId" clId="{9DD1F36D-C7B4-4854-8DA3-DF51EDD7316B}" dt="2025-08-20T10:17:17.261" v="718"/>
          <ac:spMkLst>
            <pc:docMk/>
            <pc:sldMk cId="903786285" sldId="2208"/>
            <ac:spMk id="57" creationId="{97D6816F-1C22-656F-5A9F-ADD38743060D}"/>
          </ac:spMkLst>
        </pc:spChg>
        <pc:spChg chg="mod ord">
          <ac:chgData name="Vikesh Chugani" userId="9c759398cfaae00f" providerId="LiveId" clId="{9DD1F36D-C7B4-4854-8DA3-DF51EDD7316B}" dt="2025-08-20T10:17:17.260" v="717"/>
          <ac:spMkLst>
            <pc:docMk/>
            <pc:sldMk cId="903786285" sldId="2208"/>
            <ac:spMk id="58" creationId="{EE87FF16-7301-0D3A-83BC-B46C5C62E309}"/>
          </ac:spMkLst>
        </pc:spChg>
        <pc:spChg chg="del">
          <ac:chgData name="Vikesh Chugani" userId="9c759398cfaae00f" providerId="LiveId" clId="{9DD1F36D-C7B4-4854-8DA3-DF51EDD7316B}" dt="2025-08-20T10:17:14.570" v="611"/>
          <ac:spMkLst>
            <pc:docMk/>
            <pc:sldMk cId="903786285" sldId="2208"/>
            <ac:spMk id="59" creationId="{D3621C52-5A08-C41B-6C5C-7A45CC298642}"/>
          </ac:spMkLst>
        </pc:spChg>
        <pc:spChg chg="del">
          <ac:chgData name="Vikesh Chugani" userId="9c759398cfaae00f" providerId="LiveId" clId="{9DD1F36D-C7B4-4854-8DA3-DF51EDD7316B}" dt="2025-08-20T10:17:14.579" v="628"/>
          <ac:spMkLst>
            <pc:docMk/>
            <pc:sldMk cId="903786285" sldId="2208"/>
            <ac:spMk id="60" creationId="{FC34CA56-694C-AFD2-7513-F151232EDF47}"/>
          </ac:spMkLst>
        </pc:spChg>
        <pc:spChg chg="mod ord">
          <ac:chgData name="Vikesh Chugani" userId="9c759398cfaae00f" providerId="LiveId" clId="{9DD1F36D-C7B4-4854-8DA3-DF51EDD7316B}" dt="2025-08-20T10:17:17.260" v="716"/>
          <ac:spMkLst>
            <pc:docMk/>
            <pc:sldMk cId="903786285" sldId="2208"/>
            <ac:spMk id="61" creationId="{F62552E8-BC0B-8053-9D0E-498F991F9A9D}"/>
          </ac:spMkLst>
        </pc:spChg>
        <pc:spChg chg="mod">
          <ac:chgData name="Vikesh Chugani" userId="9c759398cfaae00f" providerId="LiveId" clId="{9DD1F36D-C7B4-4854-8DA3-DF51EDD7316B}" dt="2025-08-20T10:17:15.765" v="712"/>
          <ac:spMkLst>
            <pc:docMk/>
            <pc:sldMk cId="903786285" sldId="2208"/>
            <ac:spMk id="62" creationId="{9863684F-649A-DEEB-91EB-4424534F4B64}"/>
          </ac:spMkLst>
        </pc:spChg>
        <pc:spChg chg="mod ord">
          <ac:chgData name="Vikesh Chugani" userId="9c759398cfaae00f" providerId="LiveId" clId="{9DD1F36D-C7B4-4854-8DA3-DF51EDD7316B}" dt="2025-08-20T10:17:24.709" v="844"/>
          <ac:spMkLst>
            <pc:docMk/>
            <pc:sldMk cId="903786285" sldId="2208"/>
            <ac:spMk id="64" creationId="{4F3F2110-22CD-D087-181E-C8ADAD2ACA1C}"/>
          </ac:spMkLst>
        </pc:spChg>
        <pc:spChg chg="mod ord">
          <ac:chgData name="Vikesh Chugani" userId="9c759398cfaae00f" providerId="LiveId" clId="{9DD1F36D-C7B4-4854-8DA3-DF51EDD7316B}" dt="2025-08-20T10:17:24.709" v="843"/>
          <ac:spMkLst>
            <pc:docMk/>
            <pc:sldMk cId="903786285" sldId="2208"/>
            <ac:spMk id="65" creationId="{D738D296-AB5E-7AA6-9F99-073432878E70}"/>
          </ac:spMkLst>
        </pc:spChg>
        <pc:spChg chg="mod ord">
          <ac:chgData name="Vikesh Chugani" userId="9c759398cfaae00f" providerId="LiveId" clId="{9DD1F36D-C7B4-4854-8DA3-DF51EDD7316B}" dt="2025-08-20T10:17:24.709" v="842"/>
          <ac:spMkLst>
            <pc:docMk/>
            <pc:sldMk cId="903786285" sldId="2208"/>
            <ac:spMk id="66" creationId="{A993077E-6AE1-B860-629B-0A569A4484E8}"/>
          </ac:spMkLst>
        </pc:spChg>
        <pc:spChg chg="del">
          <ac:chgData name="Vikesh Chugani" userId="9c759398cfaae00f" providerId="LiveId" clId="{9DD1F36D-C7B4-4854-8DA3-DF51EDD7316B}" dt="2025-08-20T10:17:14.573" v="618"/>
          <ac:spMkLst>
            <pc:docMk/>
            <pc:sldMk cId="903786285" sldId="2208"/>
            <ac:spMk id="67" creationId="{53764634-E720-D727-3C6F-4A06AE75DFF1}"/>
          </ac:spMkLst>
        </pc:spChg>
        <pc:spChg chg="mod ord">
          <ac:chgData name="Vikesh Chugani" userId="9c759398cfaae00f" providerId="LiveId" clId="{9DD1F36D-C7B4-4854-8DA3-DF51EDD7316B}" dt="2025-08-20T10:17:24.709" v="841"/>
          <ac:spMkLst>
            <pc:docMk/>
            <pc:sldMk cId="903786285" sldId="2208"/>
            <ac:spMk id="68" creationId="{EE5813D5-5F1B-0F29-70B2-8C48B753619F}"/>
          </ac:spMkLst>
        </pc:spChg>
        <pc:spChg chg="del">
          <ac:chgData name="Vikesh Chugani" userId="9c759398cfaae00f" providerId="LiveId" clId="{9DD1F36D-C7B4-4854-8DA3-DF51EDD7316B}" dt="2025-08-20T10:17:14.563" v="599"/>
          <ac:spMkLst>
            <pc:docMk/>
            <pc:sldMk cId="903786285" sldId="2208"/>
            <ac:spMk id="69" creationId="{AF34EA8A-E76E-BADC-F19B-E9EFEF0C1942}"/>
          </ac:spMkLst>
        </pc:spChg>
        <pc:spChg chg="add mod ord">
          <ac:chgData name="Vikesh Chugani" userId="9c759398cfaae00f" providerId="LiveId" clId="{9DD1F36D-C7B4-4854-8DA3-DF51EDD7316B}" dt="2025-08-20T10:17:24.717" v="850"/>
          <ac:spMkLst>
            <pc:docMk/>
            <pc:sldMk cId="903786285" sldId="2208"/>
            <ac:spMk id="70" creationId="{B138DDEC-C664-8F7A-FC59-FCDDAD414EE7}"/>
          </ac:spMkLst>
        </pc:spChg>
        <pc:spChg chg="add mod ord">
          <ac:chgData name="Vikesh Chugani" userId="9c759398cfaae00f" providerId="LiveId" clId="{9DD1F36D-C7B4-4854-8DA3-DF51EDD7316B}" dt="2025-08-20T10:17:24.717" v="850"/>
          <ac:spMkLst>
            <pc:docMk/>
            <pc:sldMk cId="903786285" sldId="2208"/>
            <ac:spMk id="71" creationId="{ED4D9E8A-6C80-933D-DFD9-AB64334E3FB3}"/>
          </ac:spMkLst>
        </pc:spChg>
        <pc:spChg chg="mod ord">
          <ac:chgData name="Vikesh Chugani" userId="9c759398cfaae00f" providerId="LiveId" clId="{9DD1F36D-C7B4-4854-8DA3-DF51EDD7316B}" dt="2025-08-20T10:17:24.708" v="838"/>
          <ac:spMkLst>
            <pc:docMk/>
            <pc:sldMk cId="903786285" sldId="2208"/>
            <ac:spMk id="72" creationId="{379F89A7-19B1-BB7F-9B1B-D2E357EE911C}"/>
          </ac:spMkLst>
        </pc:spChg>
        <pc:spChg chg="mod ord">
          <ac:chgData name="Vikesh Chugani" userId="9c759398cfaae00f" providerId="LiveId" clId="{9DD1F36D-C7B4-4854-8DA3-DF51EDD7316B}" dt="2025-08-20T10:17:24.708" v="837"/>
          <ac:spMkLst>
            <pc:docMk/>
            <pc:sldMk cId="903786285" sldId="2208"/>
            <ac:spMk id="73" creationId="{FB91C4BC-75A7-B7CD-02A4-317F72881E2D}"/>
          </ac:spMkLst>
        </pc:spChg>
        <pc:spChg chg="del">
          <ac:chgData name="Vikesh Chugani" userId="9c759398cfaae00f" providerId="LiveId" clId="{9DD1F36D-C7B4-4854-8DA3-DF51EDD7316B}" dt="2025-08-20T10:17:14.562" v="597"/>
          <ac:spMkLst>
            <pc:docMk/>
            <pc:sldMk cId="903786285" sldId="2208"/>
            <ac:spMk id="75" creationId="{C71FDAF0-89BB-4A30-63C8-A9C7D414A4FF}"/>
          </ac:spMkLst>
        </pc:spChg>
        <pc:spChg chg="mod ord">
          <ac:chgData name="Vikesh Chugani" userId="9c759398cfaae00f" providerId="LiveId" clId="{9DD1F36D-C7B4-4854-8DA3-DF51EDD7316B}" dt="2025-08-20T10:17:24.707" v="836"/>
          <ac:spMkLst>
            <pc:docMk/>
            <pc:sldMk cId="903786285" sldId="2208"/>
            <ac:spMk id="77" creationId="{56E9662E-3475-4E33-7658-AD70C409D1A9}"/>
          </ac:spMkLst>
        </pc:spChg>
        <pc:spChg chg="add mod ord">
          <ac:chgData name="Vikesh Chugani" userId="9c759398cfaae00f" providerId="LiveId" clId="{9DD1F36D-C7B4-4854-8DA3-DF51EDD7316B}" dt="2025-08-20T10:17:24.717" v="850"/>
          <ac:spMkLst>
            <pc:docMk/>
            <pc:sldMk cId="903786285" sldId="2208"/>
            <ac:spMk id="79" creationId="{3D65DAC9-E46A-0B35-B520-A74B981E0BE6}"/>
          </ac:spMkLst>
        </pc:spChg>
        <pc:spChg chg="mod">
          <ac:chgData name="Vikesh Chugani" userId="9c759398cfaae00f" providerId="LiveId" clId="{9DD1F36D-C7B4-4854-8DA3-DF51EDD7316B}" dt="2025-08-20T10:17:20.827" v="782"/>
          <ac:spMkLst>
            <pc:docMk/>
            <pc:sldMk cId="903786285" sldId="2208"/>
            <ac:spMk id="80" creationId="{B5116152-BCEB-2797-B962-A45EE0F00694}"/>
          </ac:spMkLst>
        </pc:spChg>
        <pc:spChg chg="mod ord">
          <ac:chgData name="Vikesh Chugani" userId="9c759398cfaae00f" providerId="LiveId" clId="{9DD1F36D-C7B4-4854-8DA3-DF51EDD7316B}" dt="2025-08-20T10:17:24.707" v="834"/>
          <ac:spMkLst>
            <pc:docMk/>
            <pc:sldMk cId="903786285" sldId="2208"/>
            <ac:spMk id="82" creationId="{642039AA-F5CF-D4C4-48EE-C06686946247}"/>
          </ac:spMkLst>
        </pc:spChg>
        <pc:spChg chg="del">
          <ac:chgData name="Vikesh Chugani" userId="9c759398cfaae00f" providerId="LiveId" clId="{9DD1F36D-C7B4-4854-8DA3-DF51EDD7316B}" dt="2025-08-20T10:17:14.571" v="614"/>
          <ac:spMkLst>
            <pc:docMk/>
            <pc:sldMk cId="903786285" sldId="2208"/>
            <ac:spMk id="83" creationId="{9ADFAA97-8CA8-059B-2B92-84DF256015EA}"/>
          </ac:spMkLst>
        </pc:spChg>
        <pc:spChg chg="del">
          <ac:chgData name="Vikesh Chugani" userId="9c759398cfaae00f" providerId="LiveId" clId="{9DD1F36D-C7B4-4854-8DA3-DF51EDD7316B}" dt="2025-08-20T10:17:14.578" v="626"/>
          <ac:spMkLst>
            <pc:docMk/>
            <pc:sldMk cId="903786285" sldId="2208"/>
            <ac:spMk id="84" creationId="{E5F3BA5F-F22C-F5F2-E991-F4FBF4B3B072}"/>
          </ac:spMkLst>
        </pc:spChg>
        <pc:spChg chg="mod ord">
          <ac:chgData name="Vikesh Chugani" userId="9c759398cfaae00f" providerId="LiveId" clId="{9DD1F36D-C7B4-4854-8DA3-DF51EDD7316B}" dt="2025-08-20T10:17:24.707" v="833"/>
          <ac:spMkLst>
            <pc:docMk/>
            <pc:sldMk cId="903786285" sldId="2208"/>
            <ac:spMk id="85" creationId="{3A39B64A-6A85-1727-C8FF-334BF97B6B82}"/>
          </ac:spMkLst>
        </pc:spChg>
        <pc:spChg chg="mod ord">
          <ac:chgData name="Vikesh Chugani" userId="9c759398cfaae00f" providerId="LiveId" clId="{9DD1F36D-C7B4-4854-8DA3-DF51EDD7316B}" dt="2025-08-20T10:17:24.706" v="832"/>
          <ac:spMkLst>
            <pc:docMk/>
            <pc:sldMk cId="903786285" sldId="2208"/>
            <ac:spMk id="86" creationId="{8E52BE7E-F450-DC79-9F1B-0B81379B92A3}"/>
          </ac:spMkLst>
        </pc:spChg>
        <pc:spChg chg="del">
          <ac:chgData name="Vikesh Chugani" userId="9c759398cfaae00f" providerId="LiveId" clId="{9DD1F36D-C7B4-4854-8DA3-DF51EDD7316B}" dt="2025-08-20T10:17:14.564" v="601"/>
          <ac:spMkLst>
            <pc:docMk/>
            <pc:sldMk cId="903786285" sldId="2208"/>
            <ac:spMk id="87" creationId="{593ECFA9-47C0-A68B-5A11-5E6C8A46C728}"/>
          </ac:spMkLst>
        </pc:spChg>
        <pc:spChg chg="add mod ord">
          <ac:chgData name="Vikesh Chugani" userId="9c759398cfaae00f" providerId="LiveId" clId="{9DD1F36D-C7B4-4854-8DA3-DF51EDD7316B}" dt="2025-08-20T10:17:24.717" v="850"/>
          <ac:spMkLst>
            <pc:docMk/>
            <pc:sldMk cId="903786285" sldId="2208"/>
            <ac:spMk id="88" creationId="{51264299-FAEE-BC37-EFA2-741E6DC9CF90}"/>
          </ac:spMkLst>
        </pc:spChg>
        <pc:spChg chg="mod ord">
          <ac:chgData name="Vikesh Chugani" userId="9c759398cfaae00f" providerId="LiveId" clId="{9DD1F36D-C7B4-4854-8DA3-DF51EDD7316B}" dt="2025-08-20T10:17:24.717" v="850"/>
          <ac:spMkLst>
            <pc:docMk/>
            <pc:sldMk cId="903786285" sldId="2208"/>
            <ac:spMk id="89" creationId="{E95013DB-AE57-0F2C-9309-FCB8ED5CCCF1}"/>
          </ac:spMkLst>
        </pc:spChg>
        <pc:spChg chg="add mod ord">
          <ac:chgData name="Vikesh Chugani" userId="9c759398cfaae00f" providerId="LiveId" clId="{9DD1F36D-C7B4-4854-8DA3-DF51EDD7316B}" dt="2025-08-20T10:17:24.717" v="850"/>
          <ac:spMkLst>
            <pc:docMk/>
            <pc:sldMk cId="903786285" sldId="2208"/>
            <ac:spMk id="90" creationId="{0A0A2F4F-8D11-5BD5-50A0-4F6E55A76D71}"/>
          </ac:spMkLst>
        </pc:spChg>
        <pc:spChg chg="del">
          <ac:chgData name="Vikesh Chugani" userId="9c759398cfaae00f" providerId="LiveId" clId="{9DD1F36D-C7B4-4854-8DA3-DF51EDD7316B}" dt="2025-08-20T10:17:14.561" v="595"/>
          <ac:spMkLst>
            <pc:docMk/>
            <pc:sldMk cId="903786285" sldId="2208"/>
            <ac:spMk id="91" creationId="{A8A4C429-05A1-CD0F-DF5F-17520986246B}"/>
          </ac:spMkLst>
        </pc:spChg>
        <pc:spChg chg="add mod ord">
          <ac:chgData name="Vikesh Chugani" userId="9c759398cfaae00f" providerId="LiveId" clId="{9DD1F36D-C7B4-4854-8DA3-DF51EDD7316B}" dt="2025-08-20T10:17:24.717" v="850"/>
          <ac:spMkLst>
            <pc:docMk/>
            <pc:sldMk cId="903786285" sldId="2208"/>
            <ac:spMk id="92" creationId="{7D60DD13-2654-CB26-B243-DA74C2FB416B}"/>
          </ac:spMkLst>
        </pc:spChg>
        <pc:spChg chg="mod ord">
          <ac:chgData name="Vikesh Chugani" userId="9c759398cfaae00f" providerId="LiveId" clId="{9DD1F36D-C7B4-4854-8DA3-DF51EDD7316B}" dt="2025-08-20T10:17:24.705" v="827"/>
          <ac:spMkLst>
            <pc:docMk/>
            <pc:sldMk cId="903786285" sldId="2208"/>
            <ac:spMk id="93" creationId="{00F5A965-FC6A-5FDD-61B4-21D93A6ECC43}"/>
          </ac:spMkLst>
        </pc:spChg>
        <pc:spChg chg="mod">
          <ac:chgData name="Vikesh Chugani" userId="9c759398cfaae00f" providerId="LiveId" clId="{9DD1F36D-C7B4-4854-8DA3-DF51EDD7316B}" dt="2025-08-20T10:17:20.786" v="750"/>
          <ac:spMkLst>
            <pc:docMk/>
            <pc:sldMk cId="903786285" sldId="2208"/>
            <ac:spMk id="104" creationId="{39AA89FC-1A63-D6C4-C135-5D0A6667200A}"/>
          </ac:spMkLst>
        </pc:spChg>
        <pc:spChg chg="mod">
          <ac:chgData name="Vikesh Chugani" userId="9c759398cfaae00f" providerId="LiveId" clId="{9DD1F36D-C7B4-4854-8DA3-DF51EDD7316B}" dt="2025-08-20T10:17:20.786" v="750"/>
          <ac:spMkLst>
            <pc:docMk/>
            <pc:sldMk cId="903786285" sldId="2208"/>
            <ac:spMk id="105" creationId="{F667F979-D064-4B8E-57C6-9E841AAB5AE2}"/>
          </ac:spMkLst>
        </pc:spChg>
        <pc:spChg chg="mod ord">
          <ac:chgData name="Vikesh Chugani" userId="9c759398cfaae00f" providerId="LiveId" clId="{9DD1F36D-C7B4-4854-8DA3-DF51EDD7316B}" dt="2025-08-20T10:17:24.717" v="850"/>
          <ac:spMkLst>
            <pc:docMk/>
            <pc:sldMk cId="903786285" sldId="2208"/>
            <ac:spMk id="109" creationId="{11839106-28A7-8260-29D2-D444E28E6594}"/>
          </ac:spMkLst>
        </pc:spChg>
        <pc:spChg chg="mod ord">
          <ac:chgData name="Vikesh Chugani" userId="9c759398cfaae00f" providerId="LiveId" clId="{9DD1F36D-C7B4-4854-8DA3-DF51EDD7316B}" dt="2025-08-20T10:17:24.705" v="823"/>
          <ac:spMkLst>
            <pc:docMk/>
            <pc:sldMk cId="903786285" sldId="2208"/>
            <ac:spMk id="110" creationId="{055DC083-74B8-B896-6785-3148C9D65470}"/>
          </ac:spMkLst>
        </pc:spChg>
        <pc:spChg chg="add mod ord">
          <ac:chgData name="Vikesh Chugani" userId="9c759398cfaae00f" providerId="LiveId" clId="{9DD1F36D-C7B4-4854-8DA3-DF51EDD7316B}" dt="2025-08-20T10:17:24.717" v="850"/>
          <ac:spMkLst>
            <pc:docMk/>
            <pc:sldMk cId="903786285" sldId="2208"/>
            <ac:spMk id="112" creationId="{8DBB2817-8DF7-2FA5-4642-75AECD389542}"/>
          </ac:spMkLst>
        </pc:spChg>
        <pc:spChg chg="mod ord">
          <ac:chgData name="Vikesh Chugani" userId="9c759398cfaae00f" providerId="LiveId" clId="{9DD1F36D-C7B4-4854-8DA3-DF51EDD7316B}" dt="2025-08-20T10:17:24.704" v="820"/>
          <ac:spMkLst>
            <pc:docMk/>
            <pc:sldMk cId="903786285" sldId="2208"/>
            <ac:spMk id="113" creationId="{71E07221-5276-E554-1A5F-C60FE6D31D50}"/>
          </ac:spMkLst>
        </pc:spChg>
        <pc:spChg chg="add mod ord">
          <ac:chgData name="Vikesh Chugani" userId="9c759398cfaae00f" providerId="LiveId" clId="{9DD1F36D-C7B4-4854-8DA3-DF51EDD7316B}" dt="2025-08-20T10:17:24.717" v="850"/>
          <ac:spMkLst>
            <pc:docMk/>
            <pc:sldMk cId="903786285" sldId="2208"/>
            <ac:spMk id="114" creationId="{2E69BFAF-7C87-9FE2-50C8-C4D0F3A00B8F}"/>
          </ac:spMkLst>
        </pc:spChg>
        <pc:spChg chg="mod">
          <ac:chgData name="Vikesh Chugani" userId="9c759398cfaae00f" providerId="LiveId" clId="{9DD1F36D-C7B4-4854-8DA3-DF51EDD7316B}" dt="2025-08-20T10:17:20.836" v="815"/>
          <ac:spMkLst>
            <pc:docMk/>
            <pc:sldMk cId="903786285" sldId="2208"/>
            <ac:spMk id="115" creationId="{64F4A68C-3E4D-0540-F61A-0BD29A9EEE56}"/>
          </ac:spMkLst>
        </pc:spChg>
        <pc:spChg chg="del">
          <ac:chgData name="Vikesh Chugani" userId="9c759398cfaae00f" providerId="LiveId" clId="{9DD1F36D-C7B4-4854-8DA3-DF51EDD7316B}" dt="2025-08-20T10:17:14.581" v="630"/>
          <ac:spMkLst>
            <pc:docMk/>
            <pc:sldMk cId="903786285" sldId="2208"/>
            <ac:spMk id="116" creationId="{0D5CFFF9-EB1B-2DE5-6050-2F259994EEE6}"/>
          </ac:spMkLst>
        </pc:spChg>
        <pc:spChg chg="del">
          <ac:chgData name="Vikesh Chugani" userId="9c759398cfaae00f" providerId="LiveId" clId="{9DD1F36D-C7B4-4854-8DA3-DF51EDD7316B}" dt="2025-08-20T10:17:14.587" v="640"/>
          <ac:spMkLst>
            <pc:docMk/>
            <pc:sldMk cId="903786285" sldId="2208"/>
            <ac:spMk id="117" creationId="{7962FCAF-0231-6A85-624E-AF4320878074}"/>
          </ac:spMkLst>
        </pc:spChg>
        <pc:spChg chg="del">
          <ac:chgData name="Vikesh Chugani" userId="9c759398cfaae00f" providerId="LiveId" clId="{9DD1F36D-C7B4-4854-8DA3-DF51EDD7316B}" dt="2025-08-20T10:17:14.572" v="616"/>
          <ac:spMkLst>
            <pc:docMk/>
            <pc:sldMk cId="903786285" sldId="2208"/>
            <ac:spMk id="118" creationId="{24DA7DFE-8039-1CCD-9E57-AE926AC17102}"/>
          </ac:spMkLst>
        </pc:spChg>
        <pc:spChg chg="mod ord">
          <ac:chgData name="Vikesh Chugani" userId="9c759398cfaae00f" providerId="LiveId" clId="{9DD1F36D-C7B4-4854-8DA3-DF51EDD7316B}" dt="2025-08-20T10:17:31.884" v="947"/>
          <ac:spMkLst>
            <pc:docMk/>
            <pc:sldMk cId="903786285" sldId="2208"/>
            <ac:spMk id="120" creationId="{55FA7399-F30F-C33B-74AB-CE5FCE4C0EC8}"/>
          </ac:spMkLst>
        </pc:spChg>
        <pc:spChg chg="add mod ord">
          <ac:chgData name="Vikesh Chugani" userId="9c759398cfaae00f" providerId="LiveId" clId="{9DD1F36D-C7B4-4854-8DA3-DF51EDD7316B}" dt="2025-08-20T10:17:31.892" v="953"/>
          <ac:spMkLst>
            <pc:docMk/>
            <pc:sldMk cId="903786285" sldId="2208"/>
            <ac:spMk id="121" creationId="{2E6BA915-B1E8-0C3E-9856-49DB786A9DF7}"/>
          </ac:spMkLst>
        </pc:spChg>
        <pc:spChg chg="mod ord">
          <ac:chgData name="Vikesh Chugani" userId="9c759398cfaae00f" providerId="LiveId" clId="{9DD1F36D-C7B4-4854-8DA3-DF51EDD7316B}" dt="2025-08-20T10:17:31.883" v="945"/>
          <ac:spMkLst>
            <pc:docMk/>
            <pc:sldMk cId="903786285" sldId="2208"/>
            <ac:spMk id="122" creationId="{3C9EA10F-069E-095B-193B-BA8E58EDF497}"/>
          </ac:spMkLst>
        </pc:spChg>
        <pc:spChg chg="del">
          <ac:chgData name="Vikesh Chugani" userId="9c759398cfaae00f" providerId="LiveId" clId="{9DD1F36D-C7B4-4854-8DA3-DF51EDD7316B}" dt="2025-08-20T10:17:14.574" v="620"/>
          <ac:spMkLst>
            <pc:docMk/>
            <pc:sldMk cId="903786285" sldId="2208"/>
            <ac:spMk id="123" creationId="{A2AC0E9C-95B1-04A3-C87A-9D6ED5FCE45F}"/>
          </ac:spMkLst>
        </pc:spChg>
        <pc:spChg chg="del">
          <ac:chgData name="Vikesh Chugani" userId="9c759398cfaae00f" providerId="LiveId" clId="{9DD1F36D-C7B4-4854-8DA3-DF51EDD7316B}" dt="2025-08-20T10:17:14.588" v="642"/>
          <ac:spMkLst>
            <pc:docMk/>
            <pc:sldMk cId="903786285" sldId="2208"/>
            <ac:spMk id="124" creationId="{B69B3BCC-D41B-C2C8-B9B7-3FFE39CF339B}"/>
          </ac:spMkLst>
        </pc:spChg>
        <pc:spChg chg="add mod ord">
          <ac:chgData name="Vikesh Chugani" userId="9c759398cfaae00f" providerId="LiveId" clId="{9DD1F36D-C7B4-4854-8DA3-DF51EDD7316B}" dt="2025-08-20T10:17:31.892" v="953"/>
          <ac:spMkLst>
            <pc:docMk/>
            <pc:sldMk cId="903786285" sldId="2208"/>
            <ac:spMk id="133" creationId="{DC2E76BD-E4E8-4CAD-DBF2-522CA12321E7}"/>
          </ac:spMkLst>
        </pc:spChg>
        <pc:spChg chg="add mod ord">
          <ac:chgData name="Vikesh Chugani" userId="9c759398cfaae00f" providerId="LiveId" clId="{9DD1F36D-C7B4-4854-8DA3-DF51EDD7316B}" dt="2025-08-20T10:17:31.892" v="953"/>
          <ac:spMkLst>
            <pc:docMk/>
            <pc:sldMk cId="903786285" sldId="2208"/>
            <ac:spMk id="134" creationId="{0B075C84-0C5D-44ED-6918-7069DBC85B42}"/>
          </ac:spMkLst>
        </pc:spChg>
        <pc:spChg chg="mod ord">
          <ac:chgData name="Vikesh Chugani" userId="9c759398cfaae00f" providerId="LiveId" clId="{9DD1F36D-C7B4-4854-8DA3-DF51EDD7316B}" dt="2025-08-20T10:17:31.882" v="942"/>
          <ac:spMkLst>
            <pc:docMk/>
            <pc:sldMk cId="903786285" sldId="2208"/>
            <ac:spMk id="135" creationId="{61033D7A-C2DB-8F9B-AE97-B0D43CD13D5C}"/>
          </ac:spMkLst>
        </pc:spChg>
        <pc:spChg chg="add mod ord">
          <ac:chgData name="Vikesh Chugani" userId="9c759398cfaae00f" providerId="LiveId" clId="{9DD1F36D-C7B4-4854-8DA3-DF51EDD7316B}" dt="2025-08-20T10:17:31.892" v="953"/>
          <ac:spMkLst>
            <pc:docMk/>
            <pc:sldMk cId="903786285" sldId="2208"/>
            <ac:spMk id="136" creationId="{110791FF-2532-8FFB-925A-5A23455950AD}"/>
          </ac:spMkLst>
        </pc:spChg>
        <pc:spChg chg="add mod ord">
          <ac:chgData name="Vikesh Chugani" userId="9c759398cfaae00f" providerId="LiveId" clId="{9DD1F36D-C7B4-4854-8DA3-DF51EDD7316B}" dt="2025-08-20T10:17:31.892" v="953"/>
          <ac:spMkLst>
            <pc:docMk/>
            <pc:sldMk cId="903786285" sldId="2208"/>
            <ac:spMk id="137" creationId="{BAEF417B-3C21-A532-E79E-EC3A8BFCDA3E}"/>
          </ac:spMkLst>
        </pc:spChg>
        <pc:spChg chg="mod ord">
          <ac:chgData name="Vikesh Chugani" userId="9c759398cfaae00f" providerId="LiveId" clId="{9DD1F36D-C7B4-4854-8DA3-DF51EDD7316B}" dt="2025-08-20T10:17:31.892" v="953"/>
          <ac:spMkLst>
            <pc:docMk/>
            <pc:sldMk cId="903786285" sldId="2208"/>
            <ac:spMk id="138" creationId="{155D3BD2-EB2F-FDD6-CB7F-8F3A8D28E3C3}"/>
          </ac:spMkLst>
        </pc:spChg>
        <pc:spChg chg="mod ord">
          <ac:chgData name="Vikesh Chugani" userId="9c759398cfaae00f" providerId="LiveId" clId="{9DD1F36D-C7B4-4854-8DA3-DF51EDD7316B}" dt="2025-08-20T10:17:31.881" v="938"/>
          <ac:spMkLst>
            <pc:docMk/>
            <pc:sldMk cId="903786285" sldId="2208"/>
            <ac:spMk id="139" creationId="{39D6A622-56C1-8D32-B78A-CA32F651E915}"/>
          </ac:spMkLst>
        </pc:spChg>
        <pc:spChg chg="mod">
          <ac:chgData name="Vikesh Chugani" userId="9c759398cfaae00f" providerId="LiveId" clId="{9DD1F36D-C7B4-4854-8DA3-DF51EDD7316B}" dt="2025-08-20T10:17:27.924" v="885"/>
          <ac:spMkLst>
            <pc:docMk/>
            <pc:sldMk cId="903786285" sldId="2208"/>
            <ac:spMk id="140" creationId="{840AF7C1-05C0-EAC1-9554-6C11FC69A533}"/>
          </ac:spMkLst>
        </pc:spChg>
        <pc:spChg chg="add mod ord">
          <ac:chgData name="Vikesh Chugani" userId="9c759398cfaae00f" providerId="LiveId" clId="{9DD1F36D-C7B4-4854-8DA3-DF51EDD7316B}" dt="2025-08-20T10:17:31.892" v="953"/>
          <ac:spMkLst>
            <pc:docMk/>
            <pc:sldMk cId="903786285" sldId="2208"/>
            <ac:spMk id="141" creationId="{FF52FCDE-5F61-0227-8EB9-708AF834EFC8}"/>
          </ac:spMkLst>
        </pc:spChg>
        <pc:spChg chg="mod ord">
          <ac:chgData name="Vikesh Chugani" userId="9c759398cfaae00f" providerId="LiveId" clId="{9DD1F36D-C7B4-4854-8DA3-DF51EDD7316B}" dt="2025-08-20T10:17:31.881" v="936"/>
          <ac:spMkLst>
            <pc:docMk/>
            <pc:sldMk cId="903786285" sldId="2208"/>
            <ac:spMk id="142" creationId="{2B1A72EF-ABCE-6DCE-5763-4323DC6DB4C0}"/>
          </ac:spMkLst>
        </pc:spChg>
        <pc:spChg chg="mod ord">
          <ac:chgData name="Vikesh Chugani" userId="9c759398cfaae00f" providerId="LiveId" clId="{9DD1F36D-C7B4-4854-8DA3-DF51EDD7316B}" dt="2025-08-20T10:17:31.892" v="953"/>
          <ac:spMkLst>
            <pc:docMk/>
            <pc:sldMk cId="903786285" sldId="2208"/>
            <ac:spMk id="143" creationId="{559389B6-0B4A-BB56-260A-4256444F780C}"/>
          </ac:spMkLst>
        </pc:spChg>
        <pc:spChg chg="mod ord">
          <ac:chgData name="Vikesh Chugani" userId="9c759398cfaae00f" providerId="LiveId" clId="{9DD1F36D-C7B4-4854-8DA3-DF51EDD7316B}" dt="2025-08-20T10:17:31.880" v="934"/>
          <ac:spMkLst>
            <pc:docMk/>
            <pc:sldMk cId="903786285" sldId="2208"/>
            <ac:spMk id="144" creationId="{37F49B43-EAAB-82ED-60AE-D896FC416341}"/>
          </ac:spMkLst>
        </pc:spChg>
        <pc:spChg chg="mod ord">
          <ac:chgData name="Vikesh Chugani" userId="9c759398cfaae00f" providerId="LiveId" clId="{9DD1F36D-C7B4-4854-8DA3-DF51EDD7316B}" dt="2025-08-20T10:17:31.880" v="933"/>
          <ac:spMkLst>
            <pc:docMk/>
            <pc:sldMk cId="903786285" sldId="2208"/>
            <ac:spMk id="145" creationId="{9E76E23F-A36A-33EE-8DDB-14776695F6D0}"/>
          </ac:spMkLst>
        </pc:spChg>
        <pc:spChg chg="add mod ord">
          <ac:chgData name="Vikesh Chugani" userId="9c759398cfaae00f" providerId="LiveId" clId="{9DD1F36D-C7B4-4854-8DA3-DF51EDD7316B}" dt="2025-08-20T10:17:31.892" v="953"/>
          <ac:spMkLst>
            <pc:docMk/>
            <pc:sldMk cId="903786285" sldId="2208"/>
            <ac:spMk id="146" creationId="{64CEDAA2-4F3B-1BB6-CDF3-198A3194C473}"/>
          </ac:spMkLst>
        </pc:spChg>
        <pc:spChg chg="mod ord">
          <ac:chgData name="Vikesh Chugani" userId="9c759398cfaae00f" providerId="LiveId" clId="{9DD1F36D-C7B4-4854-8DA3-DF51EDD7316B}" dt="2025-08-20T10:17:31.880" v="931"/>
          <ac:spMkLst>
            <pc:docMk/>
            <pc:sldMk cId="903786285" sldId="2208"/>
            <ac:spMk id="147" creationId="{999A5C98-D6E9-EF2E-C4AF-A5E642205455}"/>
          </ac:spMkLst>
        </pc:spChg>
        <pc:spChg chg="mod ord">
          <ac:chgData name="Vikesh Chugani" userId="9c759398cfaae00f" providerId="LiveId" clId="{9DD1F36D-C7B4-4854-8DA3-DF51EDD7316B}" dt="2025-08-20T10:17:31.879" v="930"/>
          <ac:spMkLst>
            <pc:docMk/>
            <pc:sldMk cId="903786285" sldId="2208"/>
            <ac:spMk id="148" creationId="{7DC529A6-2636-64BC-4D58-853CE7D9A86B}"/>
          </ac:spMkLst>
        </pc:spChg>
        <pc:spChg chg="mod">
          <ac:chgData name="Vikesh Chugani" userId="9c759398cfaae00f" providerId="LiveId" clId="{9DD1F36D-C7B4-4854-8DA3-DF51EDD7316B}" dt="2025-08-20T10:17:27.879" v="853"/>
          <ac:spMkLst>
            <pc:docMk/>
            <pc:sldMk cId="903786285" sldId="2208"/>
            <ac:spMk id="160" creationId="{3065E55C-810B-DD55-C066-20071A592454}"/>
          </ac:spMkLst>
        </pc:spChg>
        <pc:spChg chg="mod">
          <ac:chgData name="Vikesh Chugani" userId="9c759398cfaae00f" providerId="LiveId" clId="{9DD1F36D-C7B4-4854-8DA3-DF51EDD7316B}" dt="2025-08-20T10:17:27.879" v="853"/>
          <ac:spMkLst>
            <pc:docMk/>
            <pc:sldMk cId="903786285" sldId="2208"/>
            <ac:spMk id="162" creationId="{E224D3EA-6E64-DFBF-F1CD-C3E690EF4929}"/>
          </ac:spMkLst>
        </pc:spChg>
        <pc:spChg chg="add mod ord">
          <ac:chgData name="Vikesh Chugani" userId="9c759398cfaae00f" providerId="LiveId" clId="{9DD1F36D-C7B4-4854-8DA3-DF51EDD7316B}" dt="2025-08-20T10:17:31.892" v="953"/>
          <ac:spMkLst>
            <pc:docMk/>
            <pc:sldMk cId="903786285" sldId="2208"/>
            <ac:spMk id="164" creationId="{C8E86FC2-EA04-A5E8-AD68-A73E448F9F7F}"/>
          </ac:spMkLst>
        </pc:spChg>
        <pc:spChg chg="mod ord">
          <ac:chgData name="Vikesh Chugani" userId="9c759398cfaae00f" providerId="LiveId" clId="{9DD1F36D-C7B4-4854-8DA3-DF51EDD7316B}" dt="2025-08-20T10:17:31.879" v="926"/>
          <ac:spMkLst>
            <pc:docMk/>
            <pc:sldMk cId="903786285" sldId="2208"/>
            <ac:spMk id="165" creationId="{86C6C4FE-4504-2010-3644-504049E8A33B}"/>
          </ac:spMkLst>
        </pc:spChg>
        <pc:spChg chg="mod ord">
          <ac:chgData name="Vikesh Chugani" userId="9c759398cfaae00f" providerId="LiveId" clId="{9DD1F36D-C7B4-4854-8DA3-DF51EDD7316B}" dt="2025-08-20T10:17:31.878" v="924"/>
          <ac:spMkLst>
            <pc:docMk/>
            <pc:sldMk cId="903786285" sldId="2208"/>
            <ac:spMk id="167" creationId="{D387944C-90FE-5226-8321-95276346FF41}"/>
          </ac:spMkLst>
        </pc:spChg>
        <pc:spChg chg="mod ord">
          <ac:chgData name="Vikesh Chugani" userId="9c759398cfaae00f" providerId="LiveId" clId="{9DD1F36D-C7B4-4854-8DA3-DF51EDD7316B}" dt="2025-08-20T10:17:31.878" v="923"/>
          <ac:spMkLst>
            <pc:docMk/>
            <pc:sldMk cId="903786285" sldId="2208"/>
            <ac:spMk id="168" creationId="{1C0F486C-87A7-3EF6-0F78-CBBAD5858A94}"/>
          </ac:spMkLst>
        </pc:spChg>
        <pc:spChg chg="mod ord">
          <ac:chgData name="Vikesh Chugani" userId="9c759398cfaae00f" providerId="LiveId" clId="{9DD1F36D-C7B4-4854-8DA3-DF51EDD7316B}" dt="2025-08-20T10:17:31.878" v="922"/>
          <ac:spMkLst>
            <pc:docMk/>
            <pc:sldMk cId="903786285" sldId="2208"/>
            <ac:spMk id="169" creationId="{EB32DA6C-BDA6-EC75-073E-2012A7BDFC63}"/>
          </ac:spMkLst>
        </pc:spChg>
        <pc:spChg chg="mod">
          <ac:chgData name="Vikesh Chugani" userId="9c759398cfaae00f" providerId="LiveId" clId="{9DD1F36D-C7B4-4854-8DA3-DF51EDD7316B}" dt="2025-08-20T10:17:27.932" v="918"/>
          <ac:spMkLst>
            <pc:docMk/>
            <pc:sldMk cId="903786285" sldId="2208"/>
            <ac:spMk id="170" creationId="{F5A4CACE-0711-8E23-34B4-D7BA7C184439}"/>
          </ac:spMkLst>
        </pc:spChg>
        <pc:spChg chg="add del mod ord">
          <ac:chgData name="Vikesh Chugani" userId="9c759398cfaae00f" providerId="LiveId" clId="{9DD1F36D-C7B4-4854-8DA3-DF51EDD7316B}" dt="2025-08-20T10:18:46.531" v="1028" actId="478"/>
          <ac:spMkLst>
            <pc:docMk/>
            <pc:sldMk cId="903786285" sldId="2208"/>
            <ac:spMk id="172" creationId="{3551C179-64B9-7650-8F0B-CAEAFCCD0AB5}"/>
          </ac:spMkLst>
        </pc:spChg>
        <pc:spChg chg="add del mod ord">
          <ac:chgData name="Vikesh Chugani" userId="9c759398cfaae00f" providerId="LiveId" clId="{9DD1F36D-C7B4-4854-8DA3-DF51EDD7316B}" dt="2025-08-20T10:18:46.531" v="1028" actId="478"/>
          <ac:spMkLst>
            <pc:docMk/>
            <pc:sldMk cId="903786285" sldId="2208"/>
            <ac:spMk id="173" creationId="{F1169869-372D-9890-207E-248110ED9827}"/>
          </ac:spMkLst>
        </pc:spChg>
        <pc:spChg chg="mod ord">
          <ac:chgData name="Vikesh Chugani" userId="9c759398cfaae00f" providerId="LiveId" clId="{9DD1F36D-C7B4-4854-8DA3-DF51EDD7316B}" dt="2025-08-20T10:18:26.091" v="1026" actId="207"/>
          <ac:spMkLst>
            <pc:docMk/>
            <pc:sldMk cId="903786285" sldId="2208"/>
            <ac:spMk id="174" creationId="{067E8523-ADD5-1949-EC8A-F90A6837849C}"/>
          </ac:spMkLst>
        </pc:spChg>
        <pc:spChg chg="del mod ord">
          <ac:chgData name="Vikesh Chugani" userId="9c759398cfaae00f" providerId="LiveId" clId="{9DD1F36D-C7B4-4854-8DA3-DF51EDD7316B}" dt="2025-08-20T10:18:46.531" v="1028" actId="478"/>
          <ac:spMkLst>
            <pc:docMk/>
            <pc:sldMk cId="903786285" sldId="2208"/>
            <ac:spMk id="175" creationId="{D06C5F3E-FBE9-0CC0-ADC5-1BBFFD8B8625}"/>
          </ac:spMkLst>
        </pc:spChg>
        <pc:spChg chg="mod ord">
          <ac:chgData name="Vikesh Chugani" userId="9c759398cfaae00f" providerId="LiveId" clId="{9DD1F36D-C7B4-4854-8DA3-DF51EDD7316B}" dt="2025-08-20T10:17:43.608" v="977"/>
          <ac:spMkLst>
            <pc:docMk/>
            <pc:sldMk cId="903786285" sldId="2208"/>
            <ac:spMk id="176" creationId="{33163F23-BC0A-22FA-A726-08BDE12C7779}"/>
          </ac:spMkLst>
        </pc:spChg>
        <pc:spChg chg="mod ord">
          <ac:chgData name="Vikesh Chugani" userId="9c759398cfaae00f" providerId="LiveId" clId="{9DD1F36D-C7B4-4854-8DA3-DF51EDD7316B}" dt="2025-08-20T10:17:43.609" v="979"/>
          <ac:spMkLst>
            <pc:docMk/>
            <pc:sldMk cId="903786285" sldId="2208"/>
            <ac:spMk id="177" creationId="{367612B7-D6F4-2B2B-F5C2-89AA3087F0ED}"/>
          </ac:spMkLst>
        </pc:spChg>
        <pc:spChg chg="add del mod ord">
          <ac:chgData name="Vikesh Chugani" userId="9c759398cfaae00f" providerId="LiveId" clId="{9DD1F36D-C7B4-4854-8DA3-DF51EDD7316B}" dt="2025-08-20T10:18:46.531" v="1028" actId="478"/>
          <ac:spMkLst>
            <pc:docMk/>
            <pc:sldMk cId="903786285" sldId="2208"/>
            <ac:spMk id="178" creationId="{55AEB6B1-2C2C-6108-AA25-C20395D04491}"/>
          </ac:spMkLst>
        </pc:spChg>
        <pc:spChg chg="mod ord">
          <ac:chgData name="Vikesh Chugani" userId="9c759398cfaae00f" providerId="LiveId" clId="{9DD1F36D-C7B4-4854-8DA3-DF51EDD7316B}" dt="2025-08-20T10:18:29.221" v="1027" actId="207"/>
          <ac:spMkLst>
            <pc:docMk/>
            <pc:sldMk cId="903786285" sldId="2208"/>
            <ac:spMk id="179" creationId="{AE085266-F48C-6876-32F0-18A836FDF69D}"/>
          </ac:spMkLst>
        </pc:spChg>
        <pc:spChg chg="mod ord">
          <ac:chgData name="Vikesh Chugani" userId="9c759398cfaae00f" providerId="LiveId" clId="{9DD1F36D-C7B4-4854-8DA3-DF51EDD7316B}" dt="2025-08-20T10:17:43.611" v="985"/>
          <ac:spMkLst>
            <pc:docMk/>
            <pc:sldMk cId="903786285" sldId="2208"/>
            <ac:spMk id="180" creationId="{8224FA2E-A8AA-B276-9B1B-CC2C9E2876C6}"/>
          </ac:spMkLst>
        </pc:spChg>
        <pc:spChg chg="mod ord">
          <ac:chgData name="Vikesh Chugani" userId="9c759398cfaae00f" providerId="LiveId" clId="{9DD1F36D-C7B4-4854-8DA3-DF51EDD7316B}" dt="2025-08-20T10:17:43.611" v="987"/>
          <ac:spMkLst>
            <pc:docMk/>
            <pc:sldMk cId="903786285" sldId="2208"/>
            <ac:spMk id="181" creationId="{7C673BB0-8E61-74D5-683F-9A3878134FC6}"/>
          </ac:spMkLst>
        </pc:spChg>
        <pc:spChg chg="mod">
          <ac:chgData name="Vikesh Chugani" userId="9c759398cfaae00f" providerId="LiveId" clId="{9DD1F36D-C7B4-4854-8DA3-DF51EDD7316B}" dt="2025-08-20T10:17:43.612" v="988"/>
          <ac:spMkLst>
            <pc:docMk/>
            <pc:sldMk cId="903786285" sldId="2208"/>
            <ac:spMk id="182" creationId="{8F6825E8-22BB-7D48-DF5C-D9E1ED5B2937}"/>
          </ac:spMkLst>
        </pc:spChg>
        <pc:spChg chg="mod ord">
          <ac:chgData name="Vikesh Chugani" userId="9c759398cfaae00f" providerId="LiveId" clId="{9DD1F36D-C7B4-4854-8DA3-DF51EDD7316B}" dt="2025-08-20T10:17:43.612" v="990"/>
          <ac:spMkLst>
            <pc:docMk/>
            <pc:sldMk cId="903786285" sldId="2208"/>
            <ac:spMk id="183" creationId="{7BD2F492-AFFE-F8D4-B518-24D1E6E716E7}"/>
          </ac:spMkLst>
        </pc:spChg>
        <pc:spChg chg="add del mod ord">
          <ac:chgData name="Vikesh Chugani" userId="9c759398cfaae00f" providerId="LiveId" clId="{9DD1F36D-C7B4-4854-8DA3-DF51EDD7316B}" dt="2025-08-20T10:18:46.531" v="1028" actId="478"/>
          <ac:spMkLst>
            <pc:docMk/>
            <pc:sldMk cId="903786285" sldId="2208"/>
            <ac:spMk id="184" creationId="{1D80A3DC-072A-7A30-7414-B13E6CE05533}"/>
          </ac:spMkLst>
        </pc:spChg>
        <pc:spChg chg="add del mod ord">
          <ac:chgData name="Vikesh Chugani" userId="9c759398cfaae00f" providerId="LiveId" clId="{9DD1F36D-C7B4-4854-8DA3-DF51EDD7316B}" dt="2025-08-20T10:18:46.531" v="1028" actId="478"/>
          <ac:spMkLst>
            <pc:docMk/>
            <pc:sldMk cId="903786285" sldId="2208"/>
            <ac:spMk id="185" creationId="{FFDA3B67-5B4B-1E62-2FA0-E3AFE8E1EBE3}"/>
          </ac:spMkLst>
        </pc:spChg>
        <pc:spChg chg="mod ord">
          <ac:chgData name="Vikesh Chugani" userId="9c759398cfaae00f" providerId="LiveId" clId="{9DD1F36D-C7B4-4854-8DA3-DF51EDD7316B}" dt="2025-08-20T10:17:43.614" v="996"/>
          <ac:spMkLst>
            <pc:docMk/>
            <pc:sldMk cId="903786285" sldId="2208"/>
            <ac:spMk id="186" creationId="{A8D30583-0E72-6DE2-30CA-A3A1D226EDCF}"/>
          </ac:spMkLst>
        </pc:spChg>
        <pc:spChg chg="add del mod ord">
          <ac:chgData name="Vikesh Chugani" userId="9c759398cfaae00f" providerId="LiveId" clId="{9DD1F36D-C7B4-4854-8DA3-DF51EDD7316B}" dt="2025-08-20T10:18:46.531" v="1028" actId="478"/>
          <ac:spMkLst>
            <pc:docMk/>
            <pc:sldMk cId="903786285" sldId="2208"/>
            <ac:spMk id="187" creationId="{BBC62CCD-A21D-FEF9-180E-1C39E79BD4ED}"/>
          </ac:spMkLst>
        </pc:spChg>
        <pc:spChg chg="add del mod ord">
          <ac:chgData name="Vikesh Chugani" userId="9c759398cfaae00f" providerId="LiveId" clId="{9DD1F36D-C7B4-4854-8DA3-DF51EDD7316B}" dt="2025-08-20T10:18:46.531" v="1028" actId="478"/>
          <ac:spMkLst>
            <pc:docMk/>
            <pc:sldMk cId="903786285" sldId="2208"/>
            <ac:spMk id="188" creationId="{10C40D9F-75E4-93B4-2D6E-F3E224CE2C57}"/>
          </ac:spMkLst>
        </pc:spChg>
        <pc:spChg chg="mod ord">
          <ac:chgData name="Vikesh Chugani" userId="9c759398cfaae00f" providerId="LiveId" clId="{9DD1F36D-C7B4-4854-8DA3-DF51EDD7316B}" dt="2025-08-20T10:17:43.615" v="1002"/>
          <ac:spMkLst>
            <pc:docMk/>
            <pc:sldMk cId="903786285" sldId="2208"/>
            <ac:spMk id="189" creationId="{31D9CE03-4389-DBAB-169A-0B0CBD2A4549}"/>
          </ac:spMkLst>
        </pc:spChg>
        <pc:spChg chg="mod ord">
          <ac:chgData name="Vikesh Chugani" userId="9c759398cfaae00f" providerId="LiveId" clId="{9DD1F36D-C7B4-4854-8DA3-DF51EDD7316B}" dt="2025-08-20T10:17:43.616" v="1004"/>
          <ac:spMkLst>
            <pc:docMk/>
            <pc:sldMk cId="903786285" sldId="2208"/>
            <ac:spMk id="190" creationId="{A7E0C7CB-01C3-1B58-1930-EF34A75E7634}"/>
          </ac:spMkLst>
        </pc:spChg>
        <pc:spChg chg="mod">
          <ac:chgData name="Vikesh Chugani" userId="9c759398cfaae00f" providerId="LiveId" clId="{9DD1F36D-C7B4-4854-8DA3-DF51EDD7316B}" dt="2025-08-20T10:17:43.566" v="956"/>
          <ac:spMkLst>
            <pc:docMk/>
            <pc:sldMk cId="903786285" sldId="2208"/>
            <ac:spMk id="202" creationId="{70F5E17C-A737-07EF-428A-EC261C344A92}"/>
          </ac:spMkLst>
        </pc:spChg>
        <pc:spChg chg="mod ord">
          <ac:chgData name="Vikesh Chugani" userId="9c759398cfaae00f" providerId="LiveId" clId="{9DD1F36D-C7B4-4854-8DA3-DF51EDD7316B}" dt="2025-08-20T10:17:43.617" v="1010"/>
          <ac:spMkLst>
            <pc:docMk/>
            <pc:sldMk cId="903786285" sldId="2208"/>
            <ac:spMk id="206" creationId="{634AA442-BF16-6990-8E09-C74AEF599BFF}"/>
          </ac:spMkLst>
        </pc:spChg>
        <pc:spChg chg="mod ord">
          <ac:chgData name="Vikesh Chugani" userId="9c759398cfaae00f" providerId="LiveId" clId="{9DD1F36D-C7B4-4854-8DA3-DF51EDD7316B}" dt="2025-08-20T10:17:43.618" v="1012"/>
          <ac:spMkLst>
            <pc:docMk/>
            <pc:sldMk cId="903786285" sldId="2208"/>
            <ac:spMk id="207" creationId="{D42F4CFC-56C9-D55F-829A-BF3BBA69FB04}"/>
          </ac:spMkLst>
        </pc:spChg>
        <pc:spChg chg="mod ord">
          <ac:chgData name="Vikesh Chugani" userId="9c759398cfaae00f" providerId="LiveId" clId="{9DD1F36D-C7B4-4854-8DA3-DF51EDD7316B}" dt="2025-08-20T10:17:43.619" v="1016"/>
          <ac:spMkLst>
            <pc:docMk/>
            <pc:sldMk cId="903786285" sldId="2208"/>
            <ac:spMk id="209" creationId="{346CC5B2-02C1-813B-A48D-327F2FC9DF92}"/>
          </ac:spMkLst>
        </pc:spChg>
        <pc:spChg chg="add del mod ord">
          <ac:chgData name="Vikesh Chugani" userId="9c759398cfaae00f" providerId="LiveId" clId="{9DD1F36D-C7B4-4854-8DA3-DF51EDD7316B}" dt="2025-08-20T10:18:46.531" v="1028" actId="478"/>
          <ac:spMkLst>
            <pc:docMk/>
            <pc:sldMk cId="903786285" sldId="2208"/>
            <ac:spMk id="210" creationId="{8C39A445-4CCB-D51F-6A35-38023D7EDC0B}"/>
          </ac:spMkLst>
        </pc:spChg>
        <pc:spChg chg="mod ord">
          <ac:chgData name="Vikesh Chugani" userId="9c759398cfaae00f" providerId="LiveId" clId="{9DD1F36D-C7B4-4854-8DA3-DF51EDD7316B}" dt="2025-08-20T10:17:43.620" v="1020"/>
          <ac:spMkLst>
            <pc:docMk/>
            <pc:sldMk cId="903786285" sldId="2208"/>
            <ac:spMk id="211" creationId="{E5A1EC53-0839-3AFF-DBE2-0CFC6E7CD34F}"/>
          </ac:spMkLst>
        </pc:spChg>
        <pc:spChg chg="add del mod">
          <ac:chgData name="Vikesh Chugani" userId="9c759398cfaae00f" providerId="LiveId" clId="{9DD1F36D-C7B4-4854-8DA3-DF51EDD7316B}" dt="2025-08-20T10:18:46.531" v="1028" actId="478"/>
          <ac:spMkLst>
            <pc:docMk/>
            <pc:sldMk cId="903786285" sldId="2208"/>
            <ac:spMk id="212" creationId="{FCC433B0-DBC3-ABB4-ACE6-850E97CD2172}"/>
          </ac:spMkLst>
        </pc:spChg>
        <pc:spChg chg="mod ord">
          <ac:chgData name="Vikesh Chugani" userId="9c759398cfaae00f" providerId="LiveId" clId="{9DD1F36D-C7B4-4854-8DA3-DF51EDD7316B}" dt="2025-08-20T10:18:57.250" v="1140"/>
          <ac:spMkLst>
            <pc:docMk/>
            <pc:sldMk cId="903786285" sldId="2208"/>
            <ac:spMk id="215" creationId="{B3A6A86B-D378-0112-8756-7F4AA30CE35F}"/>
          </ac:spMkLst>
        </pc:spChg>
        <pc:spChg chg="mod ord">
          <ac:chgData name="Vikesh Chugani" userId="9c759398cfaae00f" providerId="LiveId" clId="{9DD1F36D-C7B4-4854-8DA3-DF51EDD7316B}" dt="2025-08-20T10:18:57.250" v="1139"/>
          <ac:spMkLst>
            <pc:docMk/>
            <pc:sldMk cId="903786285" sldId="2208"/>
            <ac:spMk id="216" creationId="{74E9F952-7198-966B-E5B5-E5D27CE16C88}"/>
          </ac:spMkLst>
        </pc:spChg>
        <pc:spChg chg="mod ord">
          <ac:chgData name="Vikesh Chugani" userId="9c759398cfaae00f" providerId="LiveId" clId="{9DD1F36D-C7B4-4854-8DA3-DF51EDD7316B}" dt="2025-08-20T10:18:57.250" v="1138"/>
          <ac:spMkLst>
            <pc:docMk/>
            <pc:sldMk cId="903786285" sldId="2208"/>
            <ac:spMk id="217" creationId="{7EE301C1-F8AE-D140-04D1-DE73F304064F}"/>
          </ac:spMkLst>
        </pc:spChg>
        <pc:spChg chg="mod ord">
          <ac:chgData name="Vikesh Chugani" userId="9c759398cfaae00f" providerId="LiveId" clId="{9DD1F36D-C7B4-4854-8DA3-DF51EDD7316B}" dt="2025-08-20T10:18:57.249" v="1137"/>
          <ac:spMkLst>
            <pc:docMk/>
            <pc:sldMk cId="903786285" sldId="2208"/>
            <ac:spMk id="218" creationId="{53B36AA9-4EC8-C261-915E-2FDCAFFED315}"/>
          </ac:spMkLst>
        </pc:spChg>
        <pc:spChg chg="mod ord">
          <ac:chgData name="Vikesh Chugani" userId="9c759398cfaae00f" providerId="LiveId" clId="{9DD1F36D-C7B4-4854-8DA3-DF51EDD7316B}" dt="2025-08-20T10:18:57.249" v="1136"/>
          <ac:spMkLst>
            <pc:docMk/>
            <pc:sldMk cId="903786285" sldId="2208"/>
            <ac:spMk id="219" creationId="{4F17F764-9EDA-13C6-157B-705C3EB79D77}"/>
          </ac:spMkLst>
        </pc:spChg>
        <pc:spChg chg="add mod ord">
          <ac:chgData name="Vikesh Chugani" userId="9c759398cfaae00f" providerId="LiveId" clId="{9DD1F36D-C7B4-4854-8DA3-DF51EDD7316B}" dt="2025-08-20T10:18:57.260" v="1146"/>
          <ac:spMkLst>
            <pc:docMk/>
            <pc:sldMk cId="903786285" sldId="2208"/>
            <ac:spMk id="220" creationId="{CD261BDB-4E8C-94F8-390D-7F8315540735}"/>
          </ac:spMkLst>
        </pc:spChg>
        <pc:spChg chg="add mod ord">
          <ac:chgData name="Vikesh Chugani" userId="9c759398cfaae00f" providerId="LiveId" clId="{9DD1F36D-C7B4-4854-8DA3-DF51EDD7316B}" dt="2025-08-20T10:18:57.260" v="1146"/>
          <ac:spMkLst>
            <pc:docMk/>
            <pc:sldMk cId="903786285" sldId="2208"/>
            <ac:spMk id="221" creationId="{97D0635C-3D5D-9020-6895-81D139C89C80}"/>
          </ac:spMkLst>
        </pc:spChg>
        <pc:spChg chg="mod ord">
          <ac:chgData name="Vikesh Chugani" userId="9c759398cfaae00f" providerId="LiveId" clId="{9DD1F36D-C7B4-4854-8DA3-DF51EDD7316B}" dt="2025-08-20T10:18:57.249" v="1133"/>
          <ac:spMkLst>
            <pc:docMk/>
            <pc:sldMk cId="903786285" sldId="2208"/>
            <ac:spMk id="222" creationId="{7B06C560-CF7F-1A2B-6CFD-4AE7C922AA32}"/>
          </ac:spMkLst>
        </pc:spChg>
        <pc:spChg chg="mod ord">
          <ac:chgData name="Vikesh Chugani" userId="9c759398cfaae00f" providerId="LiveId" clId="{9DD1F36D-C7B4-4854-8DA3-DF51EDD7316B}" dt="2025-08-20T10:18:57.260" v="1146"/>
          <ac:spMkLst>
            <pc:docMk/>
            <pc:sldMk cId="903786285" sldId="2208"/>
            <ac:spMk id="223" creationId="{753ADD3D-B63D-DCDE-48B7-08AE0B29C7BF}"/>
          </ac:spMkLst>
        </pc:spChg>
        <pc:spChg chg="mod ord">
          <ac:chgData name="Vikesh Chugani" userId="9c759398cfaae00f" providerId="LiveId" clId="{9DD1F36D-C7B4-4854-8DA3-DF51EDD7316B}" dt="2025-08-20T10:18:57.248" v="1131"/>
          <ac:spMkLst>
            <pc:docMk/>
            <pc:sldMk cId="903786285" sldId="2208"/>
            <ac:spMk id="224" creationId="{4E0BBE8D-E75B-D7E1-7E6B-BEB4056BD6F1}"/>
          </ac:spMkLst>
        </pc:spChg>
        <pc:spChg chg="add mod">
          <ac:chgData name="Vikesh Chugani" userId="9c759398cfaae00f" providerId="LiveId" clId="{9DD1F36D-C7B4-4854-8DA3-DF51EDD7316B}" dt="2025-08-20T10:18:55.522" v="1078"/>
          <ac:spMkLst>
            <pc:docMk/>
            <pc:sldMk cId="903786285" sldId="2208"/>
            <ac:spMk id="225" creationId="{E7E52B53-F614-CE39-A8DD-493799C97833}"/>
          </ac:spMkLst>
        </pc:spChg>
        <pc:spChg chg="mod ord">
          <ac:chgData name="Vikesh Chugani" userId="9c759398cfaae00f" providerId="LiveId" clId="{9DD1F36D-C7B4-4854-8DA3-DF51EDD7316B}" dt="2025-08-20T10:18:57.248" v="1130"/>
          <ac:spMkLst>
            <pc:docMk/>
            <pc:sldMk cId="903786285" sldId="2208"/>
            <ac:spMk id="226" creationId="{FEE75188-7267-5448-A04D-554EC4DB071B}"/>
          </ac:spMkLst>
        </pc:spChg>
        <pc:spChg chg="add mod ord">
          <ac:chgData name="Vikesh Chugani" userId="9c759398cfaae00f" providerId="LiveId" clId="{9DD1F36D-C7B4-4854-8DA3-DF51EDD7316B}" dt="2025-08-20T10:18:57.260" v="1146"/>
          <ac:spMkLst>
            <pc:docMk/>
            <pc:sldMk cId="903786285" sldId="2208"/>
            <ac:spMk id="227" creationId="{61C9106A-DC66-A12A-5A1E-B64CAB264ED3}"/>
          </ac:spMkLst>
        </pc:spChg>
        <pc:spChg chg="mod ord">
          <ac:chgData name="Vikesh Chugani" userId="9c759398cfaae00f" providerId="LiveId" clId="{9DD1F36D-C7B4-4854-8DA3-DF51EDD7316B}" dt="2025-08-20T10:18:57.248" v="1128"/>
          <ac:spMkLst>
            <pc:docMk/>
            <pc:sldMk cId="903786285" sldId="2208"/>
            <ac:spMk id="228" creationId="{0AEB21ED-B314-F7D2-2306-2E0600DA3F25}"/>
          </ac:spMkLst>
        </pc:spChg>
        <pc:spChg chg="add mod ord">
          <ac:chgData name="Vikesh Chugani" userId="9c759398cfaae00f" providerId="LiveId" clId="{9DD1F36D-C7B4-4854-8DA3-DF51EDD7316B}" dt="2025-08-20T10:18:57.260" v="1146"/>
          <ac:spMkLst>
            <pc:docMk/>
            <pc:sldMk cId="903786285" sldId="2208"/>
            <ac:spMk id="229" creationId="{B6667B46-6C50-9230-4E46-EC97D20422CA}"/>
          </ac:spMkLst>
        </pc:spChg>
        <pc:spChg chg="add mod ord">
          <ac:chgData name="Vikesh Chugani" userId="9c759398cfaae00f" providerId="LiveId" clId="{9DD1F36D-C7B4-4854-8DA3-DF51EDD7316B}" dt="2025-08-20T10:18:57.260" v="1146"/>
          <ac:spMkLst>
            <pc:docMk/>
            <pc:sldMk cId="903786285" sldId="2208"/>
            <ac:spMk id="230" creationId="{1BB1BCA6-0545-332A-FD6B-9730C168875E}"/>
          </ac:spMkLst>
        </pc:spChg>
        <pc:spChg chg="mod ord">
          <ac:chgData name="Vikesh Chugani" userId="9c759398cfaae00f" providerId="LiveId" clId="{9DD1F36D-C7B4-4854-8DA3-DF51EDD7316B}" dt="2025-08-20T10:18:57.247" v="1125"/>
          <ac:spMkLst>
            <pc:docMk/>
            <pc:sldMk cId="903786285" sldId="2208"/>
            <ac:spMk id="231" creationId="{6C419A30-B37B-4F4A-5F69-4681F42FFCD8}"/>
          </ac:spMkLst>
        </pc:spChg>
        <pc:spChg chg="mod ord">
          <ac:chgData name="Vikesh Chugani" userId="9c759398cfaae00f" providerId="LiveId" clId="{9DD1F36D-C7B4-4854-8DA3-DF51EDD7316B}" dt="2025-08-20T10:18:57.247" v="1124"/>
          <ac:spMkLst>
            <pc:docMk/>
            <pc:sldMk cId="903786285" sldId="2208"/>
            <ac:spMk id="232" creationId="{CDF82294-738F-DC6E-9015-18EAE856A7BD}"/>
          </ac:spMkLst>
        </pc:spChg>
        <pc:spChg chg="add mod ord">
          <ac:chgData name="Vikesh Chugani" userId="9c759398cfaae00f" providerId="LiveId" clId="{9DD1F36D-C7B4-4854-8DA3-DF51EDD7316B}" dt="2025-08-20T10:18:57.260" v="1146"/>
          <ac:spMkLst>
            <pc:docMk/>
            <pc:sldMk cId="903786285" sldId="2208"/>
            <ac:spMk id="233" creationId="{7F8BA76F-0A01-CCC5-5CB8-EE3A39A2F548}"/>
          </ac:spMkLst>
        </pc:spChg>
        <pc:spChg chg="mod">
          <ac:chgData name="Vikesh Chugani" userId="9c759398cfaae00f" providerId="LiveId" clId="{9DD1F36D-C7B4-4854-8DA3-DF51EDD7316B}" dt="2025-08-20T10:18:55.482" v="1046"/>
          <ac:spMkLst>
            <pc:docMk/>
            <pc:sldMk cId="903786285" sldId="2208"/>
            <ac:spMk id="243" creationId="{CE2D0499-D288-CB7E-2704-8020970946C5}"/>
          </ac:spMkLst>
        </pc:spChg>
        <pc:spChg chg="mod">
          <ac:chgData name="Vikesh Chugani" userId="9c759398cfaae00f" providerId="LiveId" clId="{9DD1F36D-C7B4-4854-8DA3-DF51EDD7316B}" dt="2025-08-20T10:18:55.482" v="1046"/>
          <ac:spMkLst>
            <pc:docMk/>
            <pc:sldMk cId="903786285" sldId="2208"/>
            <ac:spMk id="247" creationId="{65BF7DBD-985D-AA40-68AD-92985C06E3DE}"/>
          </ac:spMkLst>
        </pc:spChg>
        <pc:spChg chg="mod ord">
          <ac:chgData name="Vikesh Chugani" userId="9c759398cfaae00f" providerId="LiveId" clId="{9DD1F36D-C7B4-4854-8DA3-DF51EDD7316B}" dt="2025-08-20T10:18:57.260" v="1146"/>
          <ac:spMkLst>
            <pc:docMk/>
            <pc:sldMk cId="903786285" sldId="2208"/>
            <ac:spMk id="249" creationId="{64697CF2-7916-C529-E4B4-3EF8DE68B349}"/>
          </ac:spMkLst>
        </pc:spChg>
        <pc:spChg chg="add mod ord">
          <ac:chgData name="Vikesh Chugani" userId="9c759398cfaae00f" providerId="LiveId" clId="{9DD1F36D-C7B4-4854-8DA3-DF51EDD7316B}" dt="2025-08-20T10:18:57.260" v="1146"/>
          <ac:spMkLst>
            <pc:docMk/>
            <pc:sldMk cId="903786285" sldId="2208"/>
            <ac:spMk id="250" creationId="{41828373-4EA9-7509-BDD8-34A8B271014D}"/>
          </ac:spMkLst>
        </pc:spChg>
        <pc:spChg chg="mod ord">
          <ac:chgData name="Vikesh Chugani" userId="9c759398cfaae00f" providerId="LiveId" clId="{9DD1F36D-C7B4-4854-8DA3-DF51EDD7316B}" dt="2025-08-20T10:18:57.245" v="1117"/>
          <ac:spMkLst>
            <pc:docMk/>
            <pc:sldMk cId="903786285" sldId="2208"/>
            <ac:spMk id="252" creationId="{9C21F28C-8A6A-4B4C-4F8E-147747E96D5C}"/>
          </ac:spMkLst>
        </pc:spChg>
        <pc:spChg chg="mod ord">
          <ac:chgData name="Vikesh Chugani" userId="9c759398cfaae00f" providerId="LiveId" clId="{9DD1F36D-C7B4-4854-8DA3-DF51EDD7316B}" dt="2025-08-20T10:18:57.260" v="1146"/>
          <ac:spMkLst>
            <pc:docMk/>
            <pc:sldMk cId="903786285" sldId="2208"/>
            <ac:spMk id="253" creationId="{EE44D97E-7CAC-9B21-E6C3-9BBAEA7F5ED0}"/>
          </ac:spMkLst>
        </pc:spChg>
        <pc:spChg chg="mod ord">
          <ac:chgData name="Vikesh Chugani" userId="9c759398cfaae00f" providerId="LiveId" clId="{9DD1F36D-C7B4-4854-8DA3-DF51EDD7316B}" dt="2025-08-20T10:18:57.245" v="1115"/>
          <ac:spMkLst>
            <pc:docMk/>
            <pc:sldMk cId="903786285" sldId="2208"/>
            <ac:spMk id="254" creationId="{52563488-344B-DB87-CC5D-CE6635B8C9E0}"/>
          </ac:spMkLst>
        </pc:spChg>
        <pc:spChg chg="mod">
          <ac:chgData name="Vikesh Chugani" userId="9c759398cfaae00f" providerId="LiveId" clId="{9DD1F36D-C7B4-4854-8DA3-DF51EDD7316B}" dt="2025-08-20T10:18:55.531" v="1111"/>
          <ac:spMkLst>
            <pc:docMk/>
            <pc:sldMk cId="903786285" sldId="2208"/>
            <ac:spMk id="255" creationId="{9A974D9D-5942-1109-E528-73E4A20737A7}"/>
          </ac:spMkLst>
        </pc:spChg>
        <pc:spChg chg="mod ord">
          <ac:chgData name="Vikesh Chugani" userId="9c759398cfaae00f" providerId="LiveId" clId="{9DD1F36D-C7B4-4854-8DA3-DF51EDD7316B}" dt="2025-08-20T10:19:01.363" v="1243"/>
          <ac:spMkLst>
            <pc:docMk/>
            <pc:sldMk cId="903786285" sldId="2208"/>
            <ac:spMk id="257" creationId="{22151D3C-B0B9-B2AE-8D04-C916736BDC4A}"/>
          </ac:spMkLst>
        </pc:spChg>
        <pc:spChg chg="add mod ord">
          <ac:chgData name="Vikesh Chugani" userId="9c759398cfaae00f" providerId="LiveId" clId="{9DD1F36D-C7B4-4854-8DA3-DF51EDD7316B}" dt="2025-08-20T10:19:01.370" v="1249"/>
          <ac:spMkLst>
            <pc:docMk/>
            <pc:sldMk cId="903786285" sldId="2208"/>
            <ac:spMk id="258" creationId="{5935E5D1-EE68-382A-6B3B-26C5BC993D9E}"/>
          </ac:spMkLst>
        </pc:spChg>
        <pc:spChg chg="mod ord">
          <ac:chgData name="Vikesh Chugani" userId="9c759398cfaae00f" providerId="LiveId" clId="{9DD1F36D-C7B4-4854-8DA3-DF51EDD7316B}" dt="2025-08-20T10:19:01.363" v="1241"/>
          <ac:spMkLst>
            <pc:docMk/>
            <pc:sldMk cId="903786285" sldId="2208"/>
            <ac:spMk id="259" creationId="{AFAE468C-BF81-4E23-CD80-35D29573B4FD}"/>
          </ac:spMkLst>
        </pc:spChg>
        <pc:spChg chg="mod ord">
          <ac:chgData name="Vikesh Chugani" userId="9c759398cfaae00f" providerId="LiveId" clId="{9DD1F36D-C7B4-4854-8DA3-DF51EDD7316B}" dt="2025-08-20T10:19:01.362" v="1240"/>
          <ac:spMkLst>
            <pc:docMk/>
            <pc:sldMk cId="903786285" sldId="2208"/>
            <ac:spMk id="260" creationId="{4D6E7836-31B1-9E84-1992-118689A748E6}"/>
          </ac:spMkLst>
        </pc:spChg>
        <pc:spChg chg="mod ord">
          <ac:chgData name="Vikesh Chugani" userId="9c759398cfaae00f" providerId="LiveId" clId="{9DD1F36D-C7B4-4854-8DA3-DF51EDD7316B}" dt="2025-08-20T10:19:01.362" v="1239"/>
          <ac:spMkLst>
            <pc:docMk/>
            <pc:sldMk cId="903786285" sldId="2208"/>
            <ac:spMk id="261" creationId="{6E945690-A03E-8A3B-DE2D-12C4E119C18C}"/>
          </ac:spMkLst>
        </pc:spChg>
        <pc:spChg chg="add mod ord">
          <ac:chgData name="Vikesh Chugani" userId="9c759398cfaae00f" providerId="LiveId" clId="{9DD1F36D-C7B4-4854-8DA3-DF51EDD7316B}" dt="2025-08-20T10:19:01.370" v="1249"/>
          <ac:spMkLst>
            <pc:docMk/>
            <pc:sldMk cId="903786285" sldId="2208"/>
            <ac:spMk id="262" creationId="{9507982B-30FD-405A-029E-1156A96A8BE4}"/>
          </ac:spMkLst>
        </pc:spChg>
        <pc:spChg chg="mod ord">
          <ac:chgData name="Vikesh Chugani" userId="9c759398cfaae00f" providerId="LiveId" clId="{9DD1F36D-C7B4-4854-8DA3-DF51EDD7316B}" dt="2025-08-20T10:19:01.362" v="1237"/>
          <ac:spMkLst>
            <pc:docMk/>
            <pc:sldMk cId="903786285" sldId="2208"/>
            <ac:spMk id="263" creationId="{E388FA2A-4560-0869-4680-2D7ECE762517}"/>
          </ac:spMkLst>
        </pc:spChg>
        <pc:spChg chg="add mod ord">
          <ac:chgData name="Vikesh Chugani" userId="9c759398cfaae00f" providerId="LiveId" clId="{9DD1F36D-C7B4-4854-8DA3-DF51EDD7316B}" dt="2025-08-20T10:19:01.370" v="1249"/>
          <ac:spMkLst>
            <pc:docMk/>
            <pc:sldMk cId="903786285" sldId="2208"/>
            <ac:spMk id="264" creationId="{2ACADD5A-3A94-037D-B976-95BCB42E2402}"/>
          </ac:spMkLst>
        </pc:spChg>
        <pc:spChg chg="mod ord">
          <ac:chgData name="Vikesh Chugani" userId="9c759398cfaae00f" providerId="LiveId" clId="{9DD1F36D-C7B4-4854-8DA3-DF51EDD7316B}" dt="2025-08-20T10:19:01.361" v="1235"/>
          <ac:spMkLst>
            <pc:docMk/>
            <pc:sldMk cId="903786285" sldId="2208"/>
            <ac:spMk id="265" creationId="{B90AAB43-BE49-4839-5ACA-822E41E49A15}"/>
          </ac:spMkLst>
        </pc:spChg>
        <pc:spChg chg="mod ord">
          <ac:chgData name="Vikesh Chugani" userId="9c759398cfaae00f" providerId="LiveId" clId="{9DD1F36D-C7B4-4854-8DA3-DF51EDD7316B}" dt="2025-08-20T10:19:01.361" v="1234"/>
          <ac:spMkLst>
            <pc:docMk/>
            <pc:sldMk cId="903786285" sldId="2208"/>
            <ac:spMk id="266" creationId="{1A50343D-8312-5688-B104-AD2C60EC3D7C}"/>
          </ac:spMkLst>
        </pc:spChg>
        <pc:spChg chg="mod">
          <ac:chgData name="Vikesh Chugani" userId="9c759398cfaae00f" providerId="LiveId" clId="{9DD1F36D-C7B4-4854-8DA3-DF51EDD7316B}" dt="2025-08-20T10:18:59.253" v="1181"/>
          <ac:spMkLst>
            <pc:docMk/>
            <pc:sldMk cId="903786285" sldId="2208"/>
            <ac:spMk id="267" creationId="{58A0CE21-A97E-FE0C-51A4-62F374110E0D}"/>
          </ac:spMkLst>
        </pc:spChg>
        <pc:spChg chg="add mod ord">
          <ac:chgData name="Vikesh Chugani" userId="9c759398cfaae00f" providerId="LiveId" clId="{9DD1F36D-C7B4-4854-8DA3-DF51EDD7316B}" dt="2025-08-20T10:19:01.370" v="1249"/>
          <ac:spMkLst>
            <pc:docMk/>
            <pc:sldMk cId="903786285" sldId="2208"/>
            <ac:spMk id="268" creationId="{C3E5B0B3-E770-76D2-6CDB-DDC6EE2EA436}"/>
          </ac:spMkLst>
        </pc:spChg>
        <pc:spChg chg="mod ord">
          <ac:chgData name="Vikesh Chugani" userId="9c759398cfaae00f" providerId="LiveId" clId="{9DD1F36D-C7B4-4854-8DA3-DF51EDD7316B}" dt="2025-08-20T10:19:01.360" v="1232"/>
          <ac:spMkLst>
            <pc:docMk/>
            <pc:sldMk cId="903786285" sldId="2208"/>
            <ac:spMk id="269" creationId="{4F8F898C-F61A-4074-83BD-0EF1EA842B0B}"/>
          </ac:spMkLst>
        </pc:spChg>
        <pc:spChg chg="add mod ord">
          <ac:chgData name="Vikesh Chugani" userId="9c759398cfaae00f" providerId="LiveId" clId="{9DD1F36D-C7B4-4854-8DA3-DF51EDD7316B}" dt="2025-08-20T10:19:01.370" v="1249"/>
          <ac:spMkLst>
            <pc:docMk/>
            <pc:sldMk cId="903786285" sldId="2208"/>
            <ac:spMk id="270" creationId="{4FE0BBF2-1B88-8BE4-3DD4-DA8EB1CA2282}"/>
          </ac:spMkLst>
        </pc:spChg>
        <pc:spChg chg="add mod ord">
          <ac:chgData name="Vikesh Chugani" userId="9c759398cfaae00f" providerId="LiveId" clId="{9DD1F36D-C7B4-4854-8DA3-DF51EDD7316B}" dt="2025-08-20T10:19:01.370" v="1249"/>
          <ac:spMkLst>
            <pc:docMk/>
            <pc:sldMk cId="903786285" sldId="2208"/>
            <ac:spMk id="271" creationId="{968D60F0-7ED0-950A-CEE5-77382A06FB57}"/>
          </ac:spMkLst>
        </pc:spChg>
        <pc:spChg chg="mod ord">
          <ac:chgData name="Vikesh Chugani" userId="9c759398cfaae00f" providerId="LiveId" clId="{9DD1F36D-C7B4-4854-8DA3-DF51EDD7316B}" dt="2025-08-20T10:19:01.359" v="1229"/>
          <ac:spMkLst>
            <pc:docMk/>
            <pc:sldMk cId="903786285" sldId="2208"/>
            <ac:spMk id="272" creationId="{0A117B20-5B4C-A14F-1DC2-6455F0A9A4EA}"/>
          </ac:spMkLst>
        </pc:spChg>
        <pc:spChg chg="add mod ord">
          <ac:chgData name="Vikesh Chugani" userId="9c759398cfaae00f" providerId="LiveId" clId="{9DD1F36D-C7B4-4854-8DA3-DF51EDD7316B}" dt="2025-08-20T10:19:01.370" v="1249"/>
          <ac:spMkLst>
            <pc:docMk/>
            <pc:sldMk cId="903786285" sldId="2208"/>
            <ac:spMk id="273" creationId="{53125277-6E39-6E26-B7AF-3968004A108D}"/>
          </ac:spMkLst>
        </pc:spChg>
        <pc:spChg chg="add mod ord">
          <ac:chgData name="Vikesh Chugani" userId="9c759398cfaae00f" providerId="LiveId" clId="{9DD1F36D-C7B4-4854-8DA3-DF51EDD7316B}" dt="2025-08-20T10:19:01.370" v="1249"/>
          <ac:spMkLst>
            <pc:docMk/>
            <pc:sldMk cId="903786285" sldId="2208"/>
            <ac:spMk id="274" creationId="{4F8EE144-09B5-5EEB-2A4C-BD1E7F742878}"/>
          </ac:spMkLst>
        </pc:spChg>
        <pc:spChg chg="mod ord">
          <ac:chgData name="Vikesh Chugani" userId="9c759398cfaae00f" providerId="LiveId" clId="{9DD1F36D-C7B4-4854-8DA3-DF51EDD7316B}" dt="2025-08-20T10:19:01.358" v="1226"/>
          <ac:spMkLst>
            <pc:docMk/>
            <pc:sldMk cId="903786285" sldId="2208"/>
            <ac:spMk id="275" creationId="{3FDFF835-16C2-0322-368A-FE1BA5A340A7}"/>
          </ac:spMkLst>
        </pc:spChg>
        <pc:spChg chg="mod">
          <ac:chgData name="Vikesh Chugani" userId="9c759398cfaae00f" providerId="LiveId" clId="{9DD1F36D-C7B4-4854-8DA3-DF51EDD7316B}" dt="2025-08-20T10:18:59.207" v="1149"/>
          <ac:spMkLst>
            <pc:docMk/>
            <pc:sldMk cId="903786285" sldId="2208"/>
            <ac:spMk id="286" creationId="{9E4BA6FD-A4DD-134C-B7AD-B5C3BC3A789E}"/>
          </ac:spMkLst>
        </pc:spChg>
        <pc:spChg chg="mod ord">
          <ac:chgData name="Vikesh Chugani" userId="9c759398cfaae00f" providerId="LiveId" clId="{9DD1F36D-C7B4-4854-8DA3-DF51EDD7316B}" dt="2025-08-20T10:19:01.357" v="1223"/>
          <ac:spMkLst>
            <pc:docMk/>
            <pc:sldMk cId="903786285" sldId="2208"/>
            <ac:spMk id="291" creationId="{9CE5F0D2-1523-1C3D-C518-14CE20025D61}"/>
          </ac:spMkLst>
        </pc:spChg>
        <pc:spChg chg="mod ord">
          <ac:chgData name="Vikesh Chugani" userId="9c759398cfaae00f" providerId="LiveId" clId="{9DD1F36D-C7B4-4854-8DA3-DF51EDD7316B}" dt="2025-08-20T10:19:01.370" v="1249"/>
          <ac:spMkLst>
            <pc:docMk/>
            <pc:sldMk cId="903786285" sldId="2208"/>
            <ac:spMk id="292" creationId="{EC25DED2-D43B-0AB9-CA10-21E65BBEE126}"/>
          </ac:spMkLst>
        </pc:spChg>
        <pc:spChg chg="mod ord">
          <ac:chgData name="Vikesh Chugani" userId="9c759398cfaae00f" providerId="LiveId" clId="{9DD1F36D-C7B4-4854-8DA3-DF51EDD7316B}" dt="2025-08-20T10:19:01.356" v="1220"/>
          <ac:spMkLst>
            <pc:docMk/>
            <pc:sldMk cId="903786285" sldId="2208"/>
            <ac:spMk id="294" creationId="{76191325-5CE7-4243-43DF-9134A38EC33E}"/>
          </ac:spMkLst>
        </pc:spChg>
        <pc:spChg chg="add mod ord">
          <ac:chgData name="Vikesh Chugani" userId="9c759398cfaae00f" providerId="LiveId" clId="{9DD1F36D-C7B4-4854-8DA3-DF51EDD7316B}" dt="2025-08-20T10:19:01.370" v="1249"/>
          <ac:spMkLst>
            <pc:docMk/>
            <pc:sldMk cId="903786285" sldId="2208"/>
            <ac:spMk id="295" creationId="{C93BA2B7-3971-8C9D-2167-063FF997CD52}"/>
          </ac:spMkLst>
        </pc:spChg>
        <pc:spChg chg="mod ord">
          <ac:chgData name="Vikesh Chugani" userId="9c759398cfaae00f" providerId="LiveId" clId="{9DD1F36D-C7B4-4854-8DA3-DF51EDD7316B}" dt="2025-08-20T10:19:01.356" v="1218"/>
          <ac:spMkLst>
            <pc:docMk/>
            <pc:sldMk cId="903786285" sldId="2208"/>
            <ac:spMk id="296" creationId="{B43ACD78-D39F-C427-EE18-4FE56D71864B}"/>
          </ac:spMkLst>
        </pc:spChg>
        <pc:spChg chg="mod">
          <ac:chgData name="Vikesh Chugani" userId="9c759398cfaae00f" providerId="LiveId" clId="{9DD1F36D-C7B4-4854-8DA3-DF51EDD7316B}" dt="2025-08-20T10:18:59.261" v="1214"/>
          <ac:spMkLst>
            <pc:docMk/>
            <pc:sldMk cId="903786285" sldId="2208"/>
            <ac:spMk id="297" creationId="{D648862C-DCA7-2280-4783-3D3866066A72}"/>
          </ac:spMkLst>
        </pc:spChg>
        <pc:spChg chg="mod ord">
          <ac:chgData name="Vikesh Chugani" userId="9c759398cfaae00f" providerId="LiveId" clId="{9DD1F36D-C7B4-4854-8DA3-DF51EDD7316B}" dt="2025-08-20T10:19:23.198" v="1407"/>
          <ac:spMkLst>
            <pc:docMk/>
            <pc:sldMk cId="903786285" sldId="2208"/>
            <ac:spMk id="299" creationId="{16C4867E-3BBA-D3BB-7834-F4F6BD4A08DF}"/>
          </ac:spMkLst>
        </pc:spChg>
        <pc:spChg chg="mod ord">
          <ac:chgData name="Vikesh Chugani" userId="9c759398cfaae00f" providerId="LiveId" clId="{9DD1F36D-C7B4-4854-8DA3-DF51EDD7316B}" dt="2025-08-20T10:19:23.199" v="1409"/>
          <ac:spMkLst>
            <pc:docMk/>
            <pc:sldMk cId="903786285" sldId="2208"/>
            <ac:spMk id="300" creationId="{419B1D2A-5E97-42E1-5104-A6321983AC27}"/>
          </ac:spMkLst>
        </pc:spChg>
        <pc:spChg chg="mod ord">
          <ac:chgData name="Vikesh Chugani" userId="9c759398cfaae00f" providerId="LiveId" clId="{9DD1F36D-C7B4-4854-8DA3-DF51EDD7316B}" dt="2025-08-20T13:49:25.298" v="2489" actId="207"/>
          <ac:spMkLst>
            <pc:docMk/>
            <pc:sldMk cId="903786285" sldId="2208"/>
            <ac:spMk id="301" creationId="{8C7AACD0-8333-F0AE-7A0D-3C7DFF928816}"/>
          </ac:spMkLst>
        </pc:spChg>
        <pc:spChg chg="add mod ord">
          <ac:chgData name="Vikesh Chugani" userId="9c759398cfaae00f" providerId="LiveId" clId="{9DD1F36D-C7B4-4854-8DA3-DF51EDD7316B}" dt="2025-08-20T13:49:27.759" v="2490" actId="207"/>
          <ac:spMkLst>
            <pc:docMk/>
            <pc:sldMk cId="903786285" sldId="2208"/>
            <ac:spMk id="302" creationId="{7E9B7765-5283-47CE-8216-C5028B1FD855}"/>
          </ac:spMkLst>
        </pc:spChg>
        <pc:spChg chg="mod ord">
          <ac:chgData name="Vikesh Chugani" userId="9c759398cfaae00f" providerId="LiveId" clId="{9DD1F36D-C7B4-4854-8DA3-DF51EDD7316B}" dt="2025-08-20T10:19:23.202" v="1415"/>
          <ac:spMkLst>
            <pc:docMk/>
            <pc:sldMk cId="903786285" sldId="2208"/>
            <ac:spMk id="303" creationId="{E5A35122-5560-4A2D-9787-84992813BC83}"/>
          </ac:spMkLst>
        </pc:spChg>
        <pc:spChg chg="mod ord">
          <ac:chgData name="Vikesh Chugani" userId="9c759398cfaae00f" providerId="LiveId" clId="{9DD1F36D-C7B4-4854-8DA3-DF51EDD7316B}" dt="2025-08-20T10:19:23.203" v="1417"/>
          <ac:spMkLst>
            <pc:docMk/>
            <pc:sldMk cId="903786285" sldId="2208"/>
            <ac:spMk id="304" creationId="{7656A3B5-AFB5-CAA8-9B67-716EE8A9C769}"/>
          </ac:spMkLst>
        </pc:spChg>
        <pc:spChg chg="add mod ord">
          <ac:chgData name="Vikesh Chugani" userId="9c759398cfaae00f" providerId="LiveId" clId="{9DD1F36D-C7B4-4854-8DA3-DF51EDD7316B}" dt="2025-08-20T13:49:30.276" v="2491" actId="207"/>
          <ac:spMkLst>
            <pc:docMk/>
            <pc:sldMk cId="903786285" sldId="2208"/>
            <ac:spMk id="305" creationId="{ED82D2AD-E0EF-1C26-2B5C-4C0EF35FC619}"/>
          </ac:spMkLst>
        </pc:spChg>
        <pc:spChg chg="mod ord">
          <ac:chgData name="Vikesh Chugani" userId="9c759398cfaae00f" providerId="LiveId" clId="{9DD1F36D-C7B4-4854-8DA3-DF51EDD7316B}" dt="2025-08-20T13:49:32.268" v="2492" actId="207"/>
          <ac:spMkLst>
            <pc:docMk/>
            <pc:sldMk cId="903786285" sldId="2208"/>
            <ac:spMk id="306" creationId="{DE7C86A1-8A94-00DE-197B-074D7C44F474}"/>
          </ac:spMkLst>
        </pc:spChg>
        <pc:spChg chg="add mod ord">
          <ac:chgData name="Vikesh Chugani" userId="9c759398cfaae00f" providerId="LiveId" clId="{9DD1F36D-C7B4-4854-8DA3-DF51EDD7316B}" dt="2025-08-20T10:19:23.205" v="1423"/>
          <ac:spMkLst>
            <pc:docMk/>
            <pc:sldMk cId="903786285" sldId="2208"/>
            <ac:spMk id="307" creationId="{BF74F02E-67BA-3E58-5529-98910006A97E}"/>
          </ac:spMkLst>
        </pc:spChg>
        <pc:spChg chg="mod ord">
          <ac:chgData name="Vikesh Chugani" userId="9c759398cfaae00f" providerId="LiveId" clId="{9DD1F36D-C7B4-4854-8DA3-DF51EDD7316B}" dt="2025-08-20T10:19:23.206" v="1425"/>
          <ac:spMkLst>
            <pc:docMk/>
            <pc:sldMk cId="903786285" sldId="2208"/>
            <ac:spMk id="308" creationId="{3F00FD36-D3EE-B8EC-FECC-97C7A3B551D3}"/>
          </ac:spMkLst>
        </pc:spChg>
        <pc:spChg chg="add mod">
          <ac:chgData name="Vikesh Chugani" userId="9c759398cfaae00f" providerId="LiveId" clId="{9DD1F36D-C7B4-4854-8DA3-DF51EDD7316B}" dt="2025-08-20T10:19:23.206" v="1426"/>
          <ac:spMkLst>
            <pc:docMk/>
            <pc:sldMk cId="903786285" sldId="2208"/>
            <ac:spMk id="309" creationId="{71A35799-1EDD-F9A2-8FD8-016E25AE3470}"/>
          </ac:spMkLst>
        </pc:spChg>
        <pc:spChg chg="mod ord">
          <ac:chgData name="Vikesh Chugani" userId="9c759398cfaae00f" providerId="LiveId" clId="{9DD1F36D-C7B4-4854-8DA3-DF51EDD7316B}" dt="2025-08-20T10:19:23.207" v="1428"/>
          <ac:spMkLst>
            <pc:docMk/>
            <pc:sldMk cId="903786285" sldId="2208"/>
            <ac:spMk id="310" creationId="{43D24EA2-091F-0B10-B25A-56B17C24F570}"/>
          </ac:spMkLst>
        </pc:spChg>
        <pc:spChg chg="mod ord">
          <ac:chgData name="Vikesh Chugani" userId="9c759398cfaae00f" providerId="LiveId" clId="{9DD1F36D-C7B4-4854-8DA3-DF51EDD7316B}" dt="2025-08-20T10:19:23.208" v="1430"/>
          <ac:spMkLst>
            <pc:docMk/>
            <pc:sldMk cId="903786285" sldId="2208"/>
            <ac:spMk id="311" creationId="{24EBBABD-9C24-9EF1-8782-8D98CB6DAE97}"/>
          </ac:spMkLst>
        </pc:spChg>
        <pc:spChg chg="mod ord">
          <ac:chgData name="Vikesh Chugani" userId="9c759398cfaae00f" providerId="LiveId" clId="{9DD1F36D-C7B4-4854-8DA3-DF51EDD7316B}" dt="2025-08-20T10:19:23.209" v="1432"/>
          <ac:spMkLst>
            <pc:docMk/>
            <pc:sldMk cId="903786285" sldId="2208"/>
            <ac:spMk id="312" creationId="{3B3767D0-F796-A195-827E-5E680121E367}"/>
          </ac:spMkLst>
        </pc:spChg>
        <pc:spChg chg="add mod ord">
          <ac:chgData name="Vikesh Chugani" userId="9c759398cfaae00f" providerId="LiveId" clId="{9DD1F36D-C7B4-4854-8DA3-DF51EDD7316B}" dt="2025-08-20T10:19:23.210" v="1434"/>
          <ac:spMkLst>
            <pc:docMk/>
            <pc:sldMk cId="903786285" sldId="2208"/>
            <ac:spMk id="313" creationId="{D5E2978C-B3F0-CFED-FDBD-15F1C5CF7D0B}"/>
          </ac:spMkLst>
        </pc:spChg>
        <pc:spChg chg="mod ord">
          <ac:chgData name="Vikesh Chugani" userId="9c759398cfaae00f" providerId="LiveId" clId="{9DD1F36D-C7B4-4854-8DA3-DF51EDD7316B}" dt="2025-08-20T10:19:23.211" v="1436"/>
          <ac:spMkLst>
            <pc:docMk/>
            <pc:sldMk cId="903786285" sldId="2208"/>
            <ac:spMk id="314" creationId="{C2BF173D-4C7B-5121-A895-E2900B697780}"/>
          </ac:spMkLst>
        </pc:spChg>
        <pc:spChg chg="mod ord">
          <ac:chgData name="Vikesh Chugani" userId="9c759398cfaae00f" providerId="LiveId" clId="{9DD1F36D-C7B4-4854-8DA3-DF51EDD7316B}" dt="2025-08-20T10:19:23.212" v="1438"/>
          <ac:spMkLst>
            <pc:docMk/>
            <pc:sldMk cId="903786285" sldId="2208"/>
            <ac:spMk id="315" creationId="{072D7635-2F3E-D5A5-3166-ABCA7491463F}"/>
          </ac:spMkLst>
        </pc:spChg>
        <pc:spChg chg="mod ord">
          <ac:chgData name="Vikesh Chugani" userId="9c759398cfaae00f" providerId="LiveId" clId="{9DD1F36D-C7B4-4854-8DA3-DF51EDD7316B}" dt="2025-08-20T10:19:23.212" v="1440"/>
          <ac:spMkLst>
            <pc:docMk/>
            <pc:sldMk cId="903786285" sldId="2208"/>
            <ac:spMk id="316" creationId="{31587D7B-4531-26AD-CC8F-9696E59C37ED}"/>
          </ac:spMkLst>
        </pc:spChg>
        <pc:spChg chg="mod ord">
          <ac:chgData name="Vikesh Chugani" userId="9c759398cfaae00f" providerId="LiveId" clId="{9DD1F36D-C7B4-4854-8DA3-DF51EDD7316B}" dt="2025-08-20T10:19:23.213" v="1442"/>
          <ac:spMkLst>
            <pc:docMk/>
            <pc:sldMk cId="903786285" sldId="2208"/>
            <ac:spMk id="317" creationId="{0AA64FE2-18C3-11B0-2F1F-AE3377E37D37}"/>
          </ac:spMkLst>
        </pc:spChg>
        <pc:spChg chg="mod">
          <ac:chgData name="Vikesh Chugani" userId="9c759398cfaae00f" providerId="LiveId" clId="{9DD1F36D-C7B4-4854-8DA3-DF51EDD7316B}" dt="2025-08-20T10:19:23.161" v="1394"/>
          <ac:spMkLst>
            <pc:docMk/>
            <pc:sldMk cId="903786285" sldId="2208"/>
            <ac:spMk id="329" creationId="{4067F6C9-073C-271B-6A67-2B8E8B7E84C1}"/>
          </ac:spMkLst>
        </pc:spChg>
        <pc:spChg chg="mod">
          <ac:chgData name="Vikesh Chugani" userId="9c759398cfaae00f" providerId="LiveId" clId="{9DD1F36D-C7B4-4854-8DA3-DF51EDD7316B}" dt="2025-08-20T10:19:23.161" v="1394"/>
          <ac:spMkLst>
            <pc:docMk/>
            <pc:sldMk cId="903786285" sldId="2208"/>
            <ac:spMk id="330" creationId="{F3E813EE-BA1C-F6D4-7295-1C7C39CC02C9}"/>
          </ac:spMkLst>
        </pc:spChg>
        <pc:spChg chg="mod">
          <ac:chgData name="Vikesh Chugani" userId="9c759398cfaae00f" providerId="LiveId" clId="{9DD1F36D-C7B4-4854-8DA3-DF51EDD7316B}" dt="2025-08-20T10:19:23.161" v="1394"/>
          <ac:spMkLst>
            <pc:docMk/>
            <pc:sldMk cId="903786285" sldId="2208"/>
            <ac:spMk id="331" creationId="{A1DBC32F-CB8F-7F3D-6EFA-B9C011A34FF5}"/>
          </ac:spMkLst>
        </pc:spChg>
        <pc:spChg chg="mod ord">
          <ac:chgData name="Vikesh Chugani" userId="9c759398cfaae00f" providerId="LiveId" clId="{9DD1F36D-C7B4-4854-8DA3-DF51EDD7316B}" dt="2025-08-20T10:19:23.215" v="1448"/>
          <ac:spMkLst>
            <pc:docMk/>
            <pc:sldMk cId="903786285" sldId="2208"/>
            <ac:spMk id="333" creationId="{3D761B53-7F27-20DD-BF96-25D3005A66F6}"/>
          </ac:spMkLst>
        </pc:spChg>
        <pc:spChg chg="add mod ord">
          <ac:chgData name="Vikesh Chugani" userId="9c759398cfaae00f" providerId="LiveId" clId="{9DD1F36D-C7B4-4854-8DA3-DF51EDD7316B}" dt="2025-08-20T10:19:23.216" v="1450"/>
          <ac:spMkLst>
            <pc:docMk/>
            <pc:sldMk cId="903786285" sldId="2208"/>
            <ac:spMk id="334" creationId="{4133CC33-D61D-FAE2-54B8-E4E5382C63E7}"/>
          </ac:spMkLst>
        </pc:spChg>
        <pc:spChg chg="mod ord">
          <ac:chgData name="Vikesh Chugani" userId="9c759398cfaae00f" providerId="LiveId" clId="{9DD1F36D-C7B4-4854-8DA3-DF51EDD7316B}" dt="2025-08-20T10:19:23.217" v="1454"/>
          <ac:spMkLst>
            <pc:docMk/>
            <pc:sldMk cId="903786285" sldId="2208"/>
            <ac:spMk id="336" creationId="{149B0405-857F-F633-7150-07ED7FA3E375}"/>
          </ac:spMkLst>
        </pc:spChg>
        <pc:spChg chg="mod ord">
          <ac:chgData name="Vikesh Chugani" userId="9c759398cfaae00f" providerId="LiveId" clId="{9DD1F36D-C7B4-4854-8DA3-DF51EDD7316B}" dt="2025-08-20T10:19:23.217" v="1456"/>
          <ac:spMkLst>
            <pc:docMk/>
            <pc:sldMk cId="903786285" sldId="2208"/>
            <ac:spMk id="337" creationId="{371920B3-61F5-4BCF-5E93-C06137739CA7}"/>
          </ac:spMkLst>
        </pc:spChg>
        <pc:spChg chg="mod ord">
          <ac:chgData name="Vikesh Chugani" userId="9c759398cfaae00f" providerId="LiveId" clId="{9DD1F36D-C7B4-4854-8DA3-DF51EDD7316B}" dt="2025-08-20T10:19:23.218" v="1458"/>
          <ac:spMkLst>
            <pc:docMk/>
            <pc:sldMk cId="903786285" sldId="2208"/>
            <ac:spMk id="338" creationId="{F208EE62-06A6-8DE3-74A3-C0BB6921322D}"/>
          </ac:spMkLst>
        </pc:spChg>
        <pc:spChg chg="add mod">
          <ac:chgData name="Vikesh Chugani" userId="9c759398cfaae00f" providerId="LiveId" clId="{9DD1F36D-C7B4-4854-8DA3-DF51EDD7316B}" dt="2025-08-20T10:19:23.218" v="1459"/>
          <ac:spMkLst>
            <pc:docMk/>
            <pc:sldMk cId="903786285" sldId="2208"/>
            <ac:spMk id="339" creationId="{345EB744-7D0F-135C-A46F-538670DC0947}"/>
          </ac:spMkLst>
        </pc:spChg>
        <pc:grpChg chg="del">
          <ac:chgData name="Vikesh Chugani" userId="9c759398cfaae00f" providerId="LiveId" clId="{9DD1F36D-C7B4-4854-8DA3-DF51EDD7316B}" dt="2025-08-20T10:17:14.566" v="605"/>
          <ac:grpSpMkLst>
            <pc:docMk/>
            <pc:sldMk cId="903786285" sldId="2208"/>
            <ac:grpSpMk id="19" creationId="{8AF4E920-BC3F-25D5-C4B6-56A2DAE1AC58}"/>
          </ac:grpSpMkLst>
        </pc:grpChg>
        <pc:grpChg chg="del">
          <ac:chgData name="Vikesh Chugani" userId="9c759398cfaae00f" providerId="LiveId" clId="{9DD1F36D-C7B4-4854-8DA3-DF51EDD7316B}" dt="2025-08-20T10:17:14.576" v="622"/>
          <ac:grpSpMkLst>
            <pc:docMk/>
            <pc:sldMk cId="903786285" sldId="2208"/>
            <ac:grpSpMk id="20" creationId="{E4FD95FD-73B9-DAA8-943A-C5CBA46F7FB5}"/>
          </ac:grpSpMkLst>
        </pc:grpChg>
        <pc:grpChg chg="mod ord">
          <ac:chgData name="Vikesh Chugani" userId="9c759398cfaae00f" providerId="LiveId" clId="{9DD1F36D-C7B4-4854-8DA3-DF51EDD7316B}" dt="2025-08-20T10:17:17.263" v="723"/>
          <ac:grpSpMkLst>
            <pc:docMk/>
            <pc:sldMk cId="903786285" sldId="2208"/>
            <ac:grpSpMk id="30" creationId="{1EA71790-17A8-0289-7478-74E9382EE1FE}"/>
          </ac:grpSpMkLst>
        </pc:grpChg>
        <pc:grpChg chg="mod ord">
          <ac:chgData name="Vikesh Chugani" userId="9c759398cfaae00f" providerId="LiveId" clId="{9DD1F36D-C7B4-4854-8DA3-DF51EDD7316B}" dt="2025-08-20T10:17:17.262" v="722"/>
          <ac:grpSpMkLst>
            <pc:docMk/>
            <pc:sldMk cId="903786285" sldId="2208"/>
            <ac:grpSpMk id="37" creationId="{EF53DE39-C9E9-1F97-32A6-4ACC40294EA0}"/>
          </ac:grpSpMkLst>
        </pc:grpChg>
        <pc:grpChg chg="mod ord">
          <ac:chgData name="Vikesh Chugani" userId="9c759398cfaae00f" providerId="LiveId" clId="{9DD1F36D-C7B4-4854-8DA3-DF51EDD7316B}" dt="2025-08-20T10:17:24.705" v="826"/>
          <ac:grpSpMkLst>
            <pc:docMk/>
            <pc:sldMk cId="903786285" sldId="2208"/>
            <ac:grpSpMk id="94" creationId="{D6F2852A-B2FB-A6BF-3C87-01529BEBB67E}"/>
          </ac:grpSpMkLst>
        </pc:grpChg>
        <pc:grpChg chg="mod ord">
          <ac:chgData name="Vikesh Chugani" userId="9c759398cfaae00f" providerId="LiveId" clId="{9DD1F36D-C7B4-4854-8DA3-DF51EDD7316B}" dt="2025-08-20T10:17:24.705" v="825"/>
          <ac:grpSpMkLst>
            <pc:docMk/>
            <pc:sldMk cId="903786285" sldId="2208"/>
            <ac:grpSpMk id="101" creationId="{B5693849-2A50-400E-3A01-E5686E1A3C25}"/>
          </ac:grpSpMkLst>
        </pc:grpChg>
        <pc:grpChg chg="mod ord">
          <ac:chgData name="Vikesh Chugani" userId="9c759398cfaae00f" providerId="LiveId" clId="{9DD1F36D-C7B4-4854-8DA3-DF51EDD7316B}" dt="2025-08-20T10:17:31.879" v="929"/>
          <ac:grpSpMkLst>
            <pc:docMk/>
            <pc:sldMk cId="903786285" sldId="2208"/>
            <ac:grpSpMk id="149" creationId="{B05E6107-07EC-CBAC-F202-093380C28A13}"/>
          </ac:grpSpMkLst>
        </pc:grpChg>
        <pc:grpChg chg="mod ord">
          <ac:chgData name="Vikesh Chugani" userId="9c759398cfaae00f" providerId="LiveId" clId="{9DD1F36D-C7B4-4854-8DA3-DF51EDD7316B}" dt="2025-08-20T10:17:31.879" v="928"/>
          <ac:grpSpMkLst>
            <pc:docMk/>
            <pc:sldMk cId="903786285" sldId="2208"/>
            <ac:grpSpMk id="156" creationId="{373B3D45-24D5-5306-75F5-4BE62545EE89}"/>
          </ac:grpSpMkLst>
        </pc:grpChg>
        <pc:grpChg chg="mod ord">
          <ac:chgData name="Vikesh Chugani" userId="9c759398cfaae00f" providerId="LiveId" clId="{9DD1F36D-C7B4-4854-8DA3-DF51EDD7316B}" dt="2025-08-20T10:17:43.616" v="1006"/>
          <ac:grpSpMkLst>
            <pc:docMk/>
            <pc:sldMk cId="903786285" sldId="2208"/>
            <ac:grpSpMk id="191" creationId="{4279397D-F539-3CD3-238F-E553CC367103}"/>
          </ac:grpSpMkLst>
        </pc:grpChg>
        <pc:grpChg chg="mod ord">
          <ac:chgData name="Vikesh Chugani" userId="9c759398cfaae00f" providerId="LiveId" clId="{9DD1F36D-C7B4-4854-8DA3-DF51EDD7316B}" dt="2025-08-20T10:17:43.617" v="1008"/>
          <ac:grpSpMkLst>
            <pc:docMk/>
            <pc:sldMk cId="903786285" sldId="2208"/>
            <ac:grpSpMk id="198" creationId="{B12E4FA5-6B66-98A3-3853-28C9B1492F5A}"/>
          </ac:grpSpMkLst>
        </pc:grpChg>
        <pc:grpChg chg="mod ord">
          <ac:chgData name="Vikesh Chugani" userId="9c759398cfaae00f" providerId="LiveId" clId="{9DD1F36D-C7B4-4854-8DA3-DF51EDD7316B}" dt="2025-08-20T10:18:57.246" v="1122"/>
          <ac:grpSpMkLst>
            <pc:docMk/>
            <pc:sldMk cId="903786285" sldId="2208"/>
            <ac:grpSpMk id="234" creationId="{3F5D4747-E1BE-22D6-2AD5-F81500BFC8A4}"/>
          </ac:grpSpMkLst>
        </pc:grpChg>
        <pc:grpChg chg="mod ord">
          <ac:chgData name="Vikesh Chugani" userId="9c759398cfaae00f" providerId="LiveId" clId="{9DD1F36D-C7B4-4854-8DA3-DF51EDD7316B}" dt="2025-08-20T10:18:57.246" v="1121"/>
          <ac:grpSpMkLst>
            <pc:docMk/>
            <pc:sldMk cId="903786285" sldId="2208"/>
            <ac:grpSpMk id="241" creationId="{A4B5560E-EB0B-D48C-9F59-3C99003AC829}"/>
          </ac:grpSpMkLst>
        </pc:grpChg>
        <pc:grpChg chg="mod ord">
          <ac:chgData name="Vikesh Chugani" userId="9c759398cfaae00f" providerId="LiveId" clId="{9DD1F36D-C7B4-4854-8DA3-DF51EDD7316B}" dt="2025-08-20T10:19:01.358" v="1225"/>
          <ac:grpSpMkLst>
            <pc:docMk/>
            <pc:sldMk cId="903786285" sldId="2208"/>
            <ac:grpSpMk id="276" creationId="{31E5DF84-6BCF-2C4C-B9B4-5ABF76578076}"/>
          </ac:grpSpMkLst>
        </pc:grpChg>
        <pc:grpChg chg="mod ord">
          <ac:chgData name="Vikesh Chugani" userId="9c759398cfaae00f" providerId="LiveId" clId="{9DD1F36D-C7B4-4854-8DA3-DF51EDD7316B}" dt="2025-08-20T10:19:01.358" v="1224"/>
          <ac:grpSpMkLst>
            <pc:docMk/>
            <pc:sldMk cId="903786285" sldId="2208"/>
            <ac:grpSpMk id="283" creationId="{2C6A94A3-3DDB-4A3D-375F-D7086A689D1E}"/>
          </ac:grpSpMkLst>
        </pc:grpChg>
        <pc:grpChg chg="mod ord">
          <ac:chgData name="Vikesh Chugani" userId="9c759398cfaae00f" providerId="LiveId" clId="{9DD1F36D-C7B4-4854-8DA3-DF51EDD7316B}" dt="2025-08-20T10:19:23.214" v="1444"/>
          <ac:grpSpMkLst>
            <pc:docMk/>
            <pc:sldMk cId="903786285" sldId="2208"/>
            <ac:grpSpMk id="318" creationId="{9F7239AC-CFC3-0EAE-05B4-7032AE5D578E}"/>
          </ac:grpSpMkLst>
        </pc:grpChg>
        <pc:grpChg chg="mod ord">
          <ac:chgData name="Vikesh Chugani" userId="9c759398cfaae00f" providerId="LiveId" clId="{9DD1F36D-C7B4-4854-8DA3-DF51EDD7316B}" dt="2025-08-20T10:19:23.215" v="1446"/>
          <ac:grpSpMkLst>
            <pc:docMk/>
            <pc:sldMk cId="903786285" sldId="2208"/>
            <ac:grpSpMk id="325" creationId="{394135F8-898D-EDF4-28E1-5D3A3DFA222B}"/>
          </ac:grpSpMkLst>
        </pc:grpChg>
        <pc:graphicFrameChg chg="del">
          <ac:chgData name="Vikesh Chugani" userId="9c759398cfaae00f" providerId="LiveId" clId="{9DD1F36D-C7B4-4854-8DA3-DF51EDD7316B}" dt="2025-08-20T10:17:14.590" v="644"/>
          <ac:graphicFrameMkLst>
            <pc:docMk/>
            <pc:sldMk cId="903786285" sldId="2208"/>
            <ac:graphicFrameMk id="2" creationId="{3A1F8784-3E40-EAD7-BF92-C62F7A3F2EA5}"/>
          </ac:graphicFrameMkLst>
        </pc:graphicFrameChg>
        <pc:graphicFrameChg chg="mod">
          <ac:chgData name="Vikesh Chugani" userId="9c759398cfaae00f" providerId="LiveId" clId="{9DD1F36D-C7B4-4854-8DA3-DF51EDD7316B}" dt="2025-08-20T10:19:23.219" v="1461"/>
          <ac:graphicFrameMkLst>
            <pc:docMk/>
            <pc:sldMk cId="903786285" sldId="2208"/>
            <ac:graphicFrameMk id="6" creationId="{4428F301-574F-A758-411A-0420D335BE88}"/>
          </ac:graphicFrameMkLst>
        </pc:graphicFrameChg>
        <pc:graphicFrameChg chg="add del">
          <ac:chgData name="Vikesh Chugani" userId="9c759398cfaae00f" providerId="LiveId" clId="{9DD1F36D-C7B4-4854-8DA3-DF51EDD7316B}" dt="2025-08-20T10:17:17.277" v="746" actId="478"/>
          <ac:graphicFrameMkLst>
            <pc:docMk/>
            <pc:sldMk cId="903786285" sldId="2208"/>
            <ac:graphicFrameMk id="56" creationId="{97C7D080-FD05-25BD-59AD-646D2251458F}"/>
          </ac:graphicFrameMkLst>
        </pc:graphicFrameChg>
        <pc:graphicFrameChg chg="add mod ord">
          <ac:chgData name="Vikesh Chugani" userId="9c759398cfaae00f" providerId="LiveId" clId="{9DD1F36D-C7B4-4854-8DA3-DF51EDD7316B}" dt="2025-08-20T10:17:17.274" v="745" actId="1076"/>
          <ac:graphicFrameMkLst>
            <pc:docMk/>
            <pc:sldMk cId="903786285" sldId="2208"/>
            <ac:graphicFrameMk id="63" creationId="{45020E5E-191C-837A-E886-55CAF16323A2}"/>
          </ac:graphicFrameMkLst>
        </pc:graphicFrameChg>
        <pc:graphicFrameChg chg="add del">
          <ac:chgData name="Vikesh Chugani" userId="9c759398cfaae00f" providerId="LiveId" clId="{9DD1F36D-C7B4-4854-8DA3-DF51EDD7316B}" dt="2025-08-20T10:17:24.714" v="849" actId="478"/>
          <ac:graphicFrameMkLst>
            <pc:docMk/>
            <pc:sldMk cId="903786285" sldId="2208"/>
            <ac:graphicFrameMk id="111" creationId="{BB67C2E0-54AD-9797-31D8-59F99B73B443}"/>
          </ac:graphicFrameMkLst>
        </pc:graphicFrameChg>
        <pc:graphicFrameChg chg="add mod ord">
          <ac:chgData name="Vikesh Chugani" userId="9c759398cfaae00f" providerId="LiveId" clId="{9DD1F36D-C7B4-4854-8DA3-DF51EDD7316B}" dt="2025-08-20T10:17:24.713" v="848" actId="1076"/>
          <ac:graphicFrameMkLst>
            <pc:docMk/>
            <pc:sldMk cId="903786285" sldId="2208"/>
            <ac:graphicFrameMk id="119" creationId="{603D5424-FDA2-594B-C54F-1A8E06084D38}"/>
          </ac:graphicFrameMkLst>
        </pc:graphicFrameChg>
        <pc:graphicFrameChg chg="add del">
          <ac:chgData name="Vikesh Chugani" userId="9c759398cfaae00f" providerId="LiveId" clId="{9DD1F36D-C7B4-4854-8DA3-DF51EDD7316B}" dt="2025-08-20T10:17:31.889" v="952" actId="478"/>
          <ac:graphicFrameMkLst>
            <pc:docMk/>
            <pc:sldMk cId="903786285" sldId="2208"/>
            <ac:graphicFrameMk id="166" creationId="{257283D3-EB91-C1BB-B2C2-7BA27D66134A}"/>
          </ac:graphicFrameMkLst>
        </pc:graphicFrameChg>
        <pc:graphicFrameChg chg="add mod ord">
          <ac:chgData name="Vikesh Chugani" userId="9c759398cfaae00f" providerId="LiveId" clId="{9DD1F36D-C7B4-4854-8DA3-DF51EDD7316B}" dt="2025-08-20T10:17:31.887" v="951" actId="1076"/>
          <ac:graphicFrameMkLst>
            <pc:docMk/>
            <pc:sldMk cId="903786285" sldId="2208"/>
            <ac:graphicFrameMk id="171" creationId="{16AE28CF-37D4-BC4A-2B1A-79CA8BADE203}"/>
          </ac:graphicFrameMkLst>
        </pc:graphicFrameChg>
        <pc:graphicFrameChg chg="del">
          <ac:chgData name="Vikesh Chugani" userId="9c759398cfaae00f" providerId="LiveId" clId="{9DD1F36D-C7B4-4854-8DA3-DF51EDD7316B}" dt="2025-08-20T10:17:43.593" v="958"/>
          <ac:graphicFrameMkLst>
            <pc:docMk/>
            <pc:sldMk cId="903786285" sldId="2208"/>
            <ac:graphicFrameMk id="208" creationId="{94CCC643-FD57-A980-1BE4-896B01D7861B}"/>
          </ac:graphicFrameMkLst>
        </pc:graphicFrameChg>
        <pc:graphicFrameChg chg="add mod ord">
          <ac:chgData name="Vikesh Chugani" userId="9c759398cfaae00f" providerId="LiveId" clId="{9DD1F36D-C7B4-4854-8DA3-DF51EDD7316B}" dt="2025-08-20T10:17:43.618" v="1014"/>
          <ac:graphicFrameMkLst>
            <pc:docMk/>
            <pc:sldMk cId="903786285" sldId="2208"/>
            <ac:graphicFrameMk id="213" creationId="{9373DF84-CE71-7075-42BB-EFC72FD644BD}"/>
          </ac:graphicFrameMkLst>
        </pc:graphicFrameChg>
        <pc:graphicFrameChg chg="add del mod ord">
          <ac:chgData name="Vikesh Chugani" userId="9c759398cfaae00f" providerId="LiveId" clId="{9DD1F36D-C7B4-4854-8DA3-DF51EDD7316B}" dt="2025-08-20T10:18:50.338" v="1043"/>
          <ac:graphicFrameMkLst>
            <pc:docMk/>
            <pc:sldMk cId="903786285" sldId="2208"/>
            <ac:graphicFrameMk id="214" creationId="{BA665CDA-27D1-19F3-5336-CAFD4BF548ED}"/>
          </ac:graphicFrameMkLst>
        </pc:graphicFrameChg>
        <pc:graphicFrameChg chg="add del">
          <ac:chgData name="Vikesh Chugani" userId="9c759398cfaae00f" providerId="LiveId" clId="{9DD1F36D-C7B4-4854-8DA3-DF51EDD7316B}" dt="2025-08-20T10:18:57.257" v="1145" actId="478"/>
          <ac:graphicFrameMkLst>
            <pc:docMk/>
            <pc:sldMk cId="903786285" sldId="2208"/>
            <ac:graphicFrameMk id="251" creationId="{088756E3-894B-2125-3066-98244F799CD2}"/>
          </ac:graphicFrameMkLst>
        </pc:graphicFrameChg>
        <pc:graphicFrameChg chg="add mod ord">
          <ac:chgData name="Vikesh Chugani" userId="9c759398cfaae00f" providerId="LiveId" clId="{9DD1F36D-C7B4-4854-8DA3-DF51EDD7316B}" dt="2025-08-20T10:18:57.256" v="1144" actId="1076"/>
          <ac:graphicFrameMkLst>
            <pc:docMk/>
            <pc:sldMk cId="903786285" sldId="2208"/>
            <ac:graphicFrameMk id="256" creationId="{523B0969-2747-8095-E20C-AF8E3E2A5993}"/>
          </ac:graphicFrameMkLst>
        </pc:graphicFrameChg>
        <pc:graphicFrameChg chg="add del">
          <ac:chgData name="Vikesh Chugani" userId="9c759398cfaae00f" providerId="LiveId" clId="{9DD1F36D-C7B4-4854-8DA3-DF51EDD7316B}" dt="2025-08-20T10:19:01.368" v="1248" actId="478"/>
          <ac:graphicFrameMkLst>
            <pc:docMk/>
            <pc:sldMk cId="903786285" sldId="2208"/>
            <ac:graphicFrameMk id="293" creationId="{3106CF37-594D-4507-7B27-4C042477D6AC}"/>
          </ac:graphicFrameMkLst>
        </pc:graphicFrameChg>
        <pc:graphicFrameChg chg="add mod ord">
          <ac:chgData name="Vikesh Chugani" userId="9c759398cfaae00f" providerId="LiveId" clId="{9DD1F36D-C7B4-4854-8DA3-DF51EDD7316B}" dt="2025-08-20T10:19:01.367" v="1247" actId="1076"/>
          <ac:graphicFrameMkLst>
            <pc:docMk/>
            <pc:sldMk cId="903786285" sldId="2208"/>
            <ac:graphicFrameMk id="298" creationId="{E0CCADBB-B777-74C9-28BF-6E8A5C92D6B7}"/>
          </ac:graphicFrameMkLst>
        </pc:graphicFrameChg>
        <pc:graphicFrameChg chg="del">
          <ac:chgData name="Vikesh Chugani" userId="9c759398cfaae00f" providerId="LiveId" clId="{9DD1F36D-C7B4-4854-8DA3-DF51EDD7316B}" dt="2025-08-20T10:19:23.185" v="1396"/>
          <ac:graphicFrameMkLst>
            <pc:docMk/>
            <pc:sldMk cId="903786285" sldId="2208"/>
            <ac:graphicFrameMk id="335" creationId="{ACC60B6D-ECD4-7A0D-EAB7-6137749F5F05}"/>
          </ac:graphicFrameMkLst>
        </pc:graphicFrameChg>
        <pc:graphicFrameChg chg="add mod ord">
          <ac:chgData name="Vikesh Chugani" userId="9c759398cfaae00f" providerId="LiveId" clId="{9DD1F36D-C7B4-4854-8DA3-DF51EDD7316B}" dt="2025-08-20T10:19:23.216" v="1452"/>
          <ac:graphicFrameMkLst>
            <pc:docMk/>
            <pc:sldMk cId="903786285" sldId="2208"/>
            <ac:graphicFrameMk id="340" creationId="{BC5A4F07-9533-ED1C-FB82-2C492A7103E6}"/>
          </ac:graphicFrameMkLst>
        </pc:graphicFrameChg>
      </pc:sldChg>
      <pc:sldChg chg="add del">
        <pc:chgData name="Vikesh Chugani" userId="9c759398cfaae00f" providerId="LiveId" clId="{9DD1F36D-C7B4-4854-8DA3-DF51EDD7316B}" dt="2025-08-20T10:16:48.559" v="544"/>
        <pc:sldMkLst>
          <pc:docMk/>
          <pc:sldMk cId="1156194820" sldId="2208"/>
        </pc:sldMkLst>
      </pc:sldChg>
      <pc:sldChg chg="add del">
        <pc:chgData name="Vikesh Chugani" userId="9c759398cfaae00f" providerId="LiveId" clId="{9DD1F36D-C7B4-4854-8DA3-DF51EDD7316B}" dt="2025-08-20T10:16:45.855" v="542"/>
        <pc:sldMkLst>
          <pc:docMk/>
          <pc:sldMk cId="3632519472" sldId="2208"/>
        </pc:sldMkLst>
      </pc:sldChg>
      <pc:sldChg chg="addSp delSp modSp add mod">
        <pc:chgData name="Vikesh Chugani" userId="9c759398cfaae00f" providerId="LiveId" clId="{9DD1F36D-C7B4-4854-8DA3-DF51EDD7316B}" dt="2025-08-20T13:42:54.531" v="2252" actId="1076"/>
        <pc:sldMkLst>
          <pc:docMk/>
          <pc:sldMk cId="88837280" sldId="2209"/>
        </pc:sldMkLst>
        <pc:spChg chg="del">
          <ac:chgData name="Vikesh Chugani" userId="9c759398cfaae00f" providerId="LiveId" clId="{9DD1F36D-C7B4-4854-8DA3-DF51EDD7316B}" dt="2025-08-20T13:41:12.202" v="2228" actId="478"/>
          <ac:spMkLst>
            <pc:docMk/>
            <pc:sldMk cId="88837280" sldId="2209"/>
            <ac:spMk id="2" creationId="{17AB0255-D52E-F641-1CDA-AF64D5430118}"/>
          </ac:spMkLst>
        </pc:spChg>
        <pc:spChg chg="add mod">
          <ac:chgData name="Vikesh Chugani" userId="9c759398cfaae00f" providerId="LiveId" clId="{9DD1F36D-C7B4-4854-8DA3-DF51EDD7316B}" dt="2025-08-20T13:42:26.346" v="2244" actId="14100"/>
          <ac:spMkLst>
            <pc:docMk/>
            <pc:sldMk cId="88837280" sldId="2209"/>
            <ac:spMk id="5" creationId="{3B29C51C-FF25-E4E6-9B38-9EF61F5F0233}"/>
          </ac:spMkLst>
        </pc:spChg>
        <pc:spChg chg="del">
          <ac:chgData name="Vikesh Chugani" userId="9c759398cfaae00f" providerId="LiveId" clId="{9DD1F36D-C7B4-4854-8DA3-DF51EDD7316B}" dt="2025-08-20T13:41:18.791" v="2232" actId="478"/>
          <ac:spMkLst>
            <pc:docMk/>
            <pc:sldMk cId="88837280" sldId="2209"/>
            <ac:spMk id="7" creationId="{393B269D-F4FB-55EB-ADFB-48DFCD4F847A}"/>
          </ac:spMkLst>
        </pc:spChg>
        <pc:spChg chg="del">
          <ac:chgData name="Vikesh Chugani" userId="9c759398cfaae00f" providerId="LiveId" clId="{9DD1F36D-C7B4-4854-8DA3-DF51EDD7316B}" dt="2025-08-20T13:41:15.149" v="2230" actId="478"/>
          <ac:spMkLst>
            <pc:docMk/>
            <pc:sldMk cId="88837280" sldId="2209"/>
            <ac:spMk id="8" creationId="{0FEA6565-633B-DB0F-32A1-6AC9C7642375}"/>
          </ac:spMkLst>
        </pc:spChg>
        <pc:spChg chg="del">
          <ac:chgData name="Vikesh Chugani" userId="9c759398cfaae00f" providerId="LiveId" clId="{9DD1F36D-C7B4-4854-8DA3-DF51EDD7316B}" dt="2025-08-20T13:41:22.180" v="2233" actId="478"/>
          <ac:spMkLst>
            <pc:docMk/>
            <pc:sldMk cId="88837280" sldId="2209"/>
            <ac:spMk id="9" creationId="{E8C60526-0AE8-2139-DD1D-87807FEAF72C}"/>
          </ac:spMkLst>
        </pc:spChg>
        <pc:spChg chg="del">
          <ac:chgData name="Vikesh Chugani" userId="9c759398cfaae00f" providerId="LiveId" clId="{9DD1F36D-C7B4-4854-8DA3-DF51EDD7316B}" dt="2025-08-20T13:41:13.309" v="2229" actId="478"/>
          <ac:spMkLst>
            <pc:docMk/>
            <pc:sldMk cId="88837280" sldId="2209"/>
            <ac:spMk id="10" creationId="{ED131E51-727F-7965-16E2-46EA0DEF72B3}"/>
          </ac:spMkLst>
        </pc:spChg>
        <pc:spChg chg="del">
          <ac:chgData name="Vikesh Chugani" userId="9c759398cfaae00f" providerId="LiveId" clId="{9DD1F36D-C7B4-4854-8DA3-DF51EDD7316B}" dt="2025-08-20T13:41:17.111" v="2231" actId="478"/>
          <ac:spMkLst>
            <pc:docMk/>
            <pc:sldMk cId="88837280" sldId="2209"/>
            <ac:spMk id="11" creationId="{DBC929E7-2245-7AFA-82BC-2521631B8945}"/>
          </ac:spMkLst>
        </pc:spChg>
        <pc:spChg chg="add mod">
          <ac:chgData name="Vikesh Chugani" userId="9c759398cfaae00f" providerId="LiveId" clId="{9DD1F36D-C7B4-4854-8DA3-DF51EDD7316B}" dt="2025-08-20T13:42:31.631" v="2246" actId="1076"/>
          <ac:spMkLst>
            <pc:docMk/>
            <pc:sldMk cId="88837280" sldId="2209"/>
            <ac:spMk id="12" creationId="{409DB409-BDC7-29B4-99FA-D02F8D9F9D55}"/>
          </ac:spMkLst>
        </pc:spChg>
        <pc:spChg chg="add mod">
          <ac:chgData name="Vikesh Chugani" userId="9c759398cfaae00f" providerId="LiveId" clId="{9DD1F36D-C7B4-4854-8DA3-DF51EDD7316B}" dt="2025-08-20T13:42:38.979" v="2248" actId="1076"/>
          <ac:spMkLst>
            <pc:docMk/>
            <pc:sldMk cId="88837280" sldId="2209"/>
            <ac:spMk id="13" creationId="{89451319-BEE5-5418-4364-43D43047F170}"/>
          </ac:spMkLst>
        </pc:spChg>
        <pc:spChg chg="add mod">
          <ac:chgData name="Vikesh Chugani" userId="9c759398cfaae00f" providerId="LiveId" clId="{9DD1F36D-C7B4-4854-8DA3-DF51EDD7316B}" dt="2025-08-20T13:42:54.531" v="2252" actId="1076"/>
          <ac:spMkLst>
            <pc:docMk/>
            <pc:sldMk cId="88837280" sldId="2209"/>
            <ac:spMk id="14" creationId="{543A6903-1726-0D58-3F5A-7E83C5B78CA1}"/>
          </ac:spMkLst>
        </pc:spChg>
        <pc:picChg chg="mod">
          <ac:chgData name="Vikesh Chugani" userId="9c759398cfaae00f" providerId="LiveId" clId="{9DD1F36D-C7B4-4854-8DA3-DF51EDD7316B}" dt="2025-08-20T13:42:50.022" v="2251" actId="1076"/>
          <ac:picMkLst>
            <pc:docMk/>
            <pc:sldMk cId="88837280" sldId="2209"/>
            <ac:picMk id="3" creationId="{4426247D-00EB-EAD6-345A-0AE7DA6ED5E6}"/>
          </ac:picMkLst>
        </pc:picChg>
      </pc:sldChg>
      <pc:sldChg chg="addSp delSp modSp add del mod">
        <pc:chgData name="Vikesh Chugani" userId="9c759398cfaae00f" providerId="LiveId" clId="{9DD1F36D-C7B4-4854-8DA3-DF51EDD7316B}" dt="2025-08-20T10:19:25.774" v="1462" actId="47"/>
        <pc:sldMkLst>
          <pc:docMk/>
          <pc:sldMk cId="1681458101" sldId="2209"/>
        </pc:sldMkLst>
        <pc:spChg chg="mod ord">
          <ac:chgData name="Vikesh Chugani" userId="9c759398cfaae00f" providerId="LiveId" clId="{9DD1F36D-C7B4-4854-8DA3-DF51EDD7316B}" dt="2025-08-20T10:19:20.276" v="1389"/>
          <ac:spMkLst>
            <pc:docMk/>
            <pc:sldMk cId="1681458101" sldId="2209"/>
            <ac:spMk id="2" creationId="{82856270-A29D-54A1-7195-FB9C1B3537AC}"/>
          </ac:spMkLst>
        </pc:spChg>
        <pc:spChg chg="mod ord">
          <ac:chgData name="Vikesh Chugani" userId="9c759398cfaae00f" providerId="LiveId" clId="{9DD1F36D-C7B4-4854-8DA3-DF51EDD7316B}" dt="2025-08-20T10:19:20.259" v="1373"/>
          <ac:spMkLst>
            <pc:docMk/>
            <pc:sldMk cId="1681458101" sldId="2209"/>
            <ac:spMk id="3" creationId="{E00F9C05-A7C9-6732-1D70-2C71B38FAC57}"/>
          </ac:spMkLst>
        </pc:spChg>
        <pc:spChg chg="mod ord">
          <ac:chgData name="Vikesh Chugani" userId="9c759398cfaae00f" providerId="LiveId" clId="{9DD1F36D-C7B4-4854-8DA3-DF51EDD7316B}" dt="2025-08-20T10:19:20.274" v="1388" actId="948"/>
          <ac:spMkLst>
            <pc:docMk/>
            <pc:sldMk cId="1681458101" sldId="2209"/>
            <ac:spMk id="4" creationId="{D7DAF18E-5BDD-984A-ADB2-E4486D42C5A9}"/>
          </ac:spMkLst>
        </pc:spChg>
        <pc:spChg chg="add del">
          <ac:chgData name="Vikesh Chugani" userId="9c759398cfaae00f" providerId="LiveId" clId="{9DD1F36D-C7B4-4854-8DA3-DF51EDD7316B}" dt="2025-08-20T10:19:20.950" v="1393" actId="478"/>
          <ac:spMkLst>
            <pc:docMk/>
            <pc:sldMk cId="1681458101" sldId="2209"/>
            <ac:spMk id="5" creationId="{9C681B90-B45D-E8D7-15E6-1B9345B872A3}"/>
          </ac:spMkLst>
        </pc:spChg>
        <pc:spChg chg="add del">
          <ac:chgData name="Vikesh Chugani" userId="9c759398cfaae00f" providerId="LiveId" clId="{9DD1F36D-C7B4-4854-8DA3-DF51EDD7316B}" dt="2025-08-20T10:19:20.950" v="1393" actId="478"/>
          <ac:spMkLst>
            <pc:docMk/>
            <pc:sldMk cId="1681458101" sldId="2209"/>
            <ac:spMk id="6" creationId="{2F0CDCC2-A437-FF52-180B-7E9560F30AB0}"/>
          </ac:spMkLst>
        </pc:spChg>
        <pc:spChg chg="add del">
          <ac:chgData name="Vikesh Chugani" userId="9c759398cfaae00f" providerId="LiveId" clId="{9DD1F36D-C7B4-4854-8DA3-DF51EDD7316B}" dt="2025-08-20T10:19:20.950" v="1393" actId="478"/>
          <ac:spMkLst>
            <pc:docMk/>
            <pc:sldMk cId="1681458101" sldId="2209"/>
            <ac:spMk id="7" creationId="{589BDECA-5F0B-7DCC-BB94-5BD3699C9A9C}"/>
          </ac:spMkLst>
        </pc:spChg>
        <pc:spChg chg="add del">
          <ac:chgData name="Vikesh Chugani" userId="9c759398cfaae00f" providerId="LiveId" clId="{9DD1F36D-C7B4-4854-8DA3-DF51EDD7316B}" dt="2025-08-20T10:19:20.950" v="1393" actId="478"/>
          <ac:spMkLst>
            <pc:docMk/>
            <pc:sldMk cId="1681458101" sldId="2209"/>
            <ac:spMk id="8" creationId="{EFD5CC54-20F5-2D19-E5FF-451D6091FFF6}"/>
          </ac:spMkLst>
        </pc:spChg>
        <pc:spChg chg="add mod ord">
          <ac:chgData name="Vikesh Chugani" userId="9c759398cfaae00f" providerId="LiveId" clId="{9DD1F36D-C7B4-4854-8DA3-DF51EDD7316B}" dt="2025-08-20T10:19:20.258" v="1370"/>
          <ac:spMkLst>
            <pc:docMk/>
            <pc:sldMk cId="1681458101" sldId="2209"/>
            <ac:spMk id="9" creationId="{DB31DFBE-2671-E8D9-7121-98883293550F}"/>
          </ac:spMkLst>
        </pc:spChg>
        <pc:spChg chg="add mod ord">
          <ac:chgData name="Vikesh Chugani" userId="9c759398cfaae00f" providerId="LiveId" clId="{9DD1F36D-C7B4-4854-8DA3-DF51EDD7316B}" dt="2025-08-20T10:19:20.276" v="1389"/>
          <ac:spMkLst>
            <pc:docMk/>
            <pc:sldMk cId="1681458101" sldId="2209"/>
            <ac:spMk id="10" creationId="{7FECBD9E-2374-9ABA-B681-7D2FC98D08CF}"/>
          </ac:spMkLst>
        </pc:spChg>
        <pc:spChg chg="mod ord">
          <ac:chgData name="Vikesh Chugani" userId="9c759398cfaae00f" providerId="LiveId" clId="{9DD1F36D-C7B4-4854-8DA3-DF51EDD7316B}" dt="2025-08-20T10:19:20.276" v="1389"/>
          <ac:spMkLst>
            <pc:docMk/>
            <pc:sldMk cId="1681458101" sldId="2209"/>
            <ac:spMk id="11" creationId="{386EC6C4-17B6-9686-21E5-0AF4508FEA5C}"/>
          </ac:spMkLst>
        </pc:spChg>
        <pc:spChg chg="mod ord">
          <ac:chgData name="Vikesh Chugani" userId="9c759398cfaae00f" providerId="LiveId" clId="{9DD1F36D-C7B4-4854-8DA3-DF51EDD7316B}" dt="2025-08-20T10:19:20.257" v="1367"/>
          <ac:spMkLst>
            <pc:docMk/>
            <pc:sldMk cId="1681458101" sldId="2209"/>
            <ac:spMk id="12" creationId="{6D552810-0F53-71B8-580A-30BE9DCCE389}"/>
          </ac:spMkLst>
        </pc:spChg>
        <pc:spChg chg="add mod ord">
          <ac:chgData name="Vikesh Chugani" userId="9c759398cfaae00f" providerId="LiveId" clId="{9DD1F36D-C7B4-4854-8DA3-DF51EDD7316B}" dt="2025-08-20T10:19:20.256" v="1366"/>
          <ac:spMkLst>
            <pc:docMk/>
            <pc:sldMk cId="1681458101" sldId="2209"/>
            <ac:spMk id="13" creationId="{4633C02C-ADBE-FB54-9637-DFAC65DBA5AE}"/>
          </ac:spMkLst>
        </pc:spChg>
        <pc:spChg chg="mod ord">
          <ac:chgData name="Vikesh Chugani" userId="9c759398cfaae00f" providerId="LiveId" clId="{9DD1F36D-C7B4-4854-8DA3-DF51EDD7316B}" dt="2025-08-20T10:19:20.276" v="1389"/>
          <ac:spMkLst>
            <pc:docMk/>
            <pc:sldMk cId="1681458101" sldId="2209"/>
            <ac:spMk id="14" creationId="{ADA9E310-E0C1-3141-4ABA-D569DA9B0BFC}"/>
          </ac:spMkLst>
        </pc:spChg>
        <pc:spChg chg="add mod ord">
          <ac:chgData name="Vikesh Chugani" userId="9c759398cfaae00f" providerId="LiveId" clId="{9DD1F36D-C7B4-4854-8DA3-DF51EDD7316B}" dt="2025-08-20T10:19:20.255" v="1364"/>
          <ac:spMkLst>
            <pc:docMk/>
            <pc:sldMk cId="1681458101" sldId="2209"/>
            <ac:spMk id="15" creationId="{4B612813-26C9-7770-0237-7553F29B2833}"/>
          </ac:spMkLst>
        </pc:spChg>
        <pc:spChg chg="mod ord">
          <ac:chgData name="Vikesh Chugani" userId="9c759398cfaae00f" providerId="LiveId" clId="{9DD1F36D-C7B4-4854-8DA3-DF51EDD7316B}" dt="2025-08-20T10:19:20.276" v="1389"/>
          <ac:spMkLst>
            <pc:docMk/>
            <pc:sldMk cId="1681458101" sldId="2209"/>
            <ac:spMk id="16" creationId="{41F28FD3-CDC1-9279-FCFD-7D3442740E57}"/>
          </ac:spMkLst>
        </pc:spChg>
        <pc:spChg chg="add mod ord">
          <ac:chgData name="Vikesh Chugani" userId="9c759398cfaae00f" providerId="LiveId" clId="{9DD1F36D-C7B4-4854-8DA3-DF51EDD7316B}" dt="2025-08-20T10:19:20.254" v="1362"/>
          <ac:spMkLst>
            <pc:docMk/>
            <pc:sldMk cId="1681458101" sldId="2209"/>
            <ac:spMk id="17" creationId="{65C7FFCE-1062-BB78-C0F8-4EA7A97E41FA}"/>
          </ac:spMkLst>
        </pc:spChg>
        <pc:spChg chg="mod">
          <ac:chgData name="Vikesh Chugani" userId="9c759398cfaae00f" providerId="LiveId" clId="{9DD1F36D-C7B4-4854-8DA3-DF51EDD7316B}" dt="2025-08-20T10:19:18.162" v="1306"/>
          <ac:spMkLst>
            <pc:docMk/>
            <pc:sldMk cId="1681458101" sldId="2209"/>
            <ac:spMk id="18" creationId="{A1099325-9F85-5F84-401A-D8C3FF35AE7F}"/>
          </ac:spMkLst>
        </pc:spChg>
        <pc:spChg chg="add mod ord">
          <ac:chgData name="Vikesh Chugani" userId="9c759398cfaae00f" providerId="LiveId" clId="{9DD1F36D-C7B4-4854-8DA3-DF51EDD7316B}" dt="2025-08-20T10:19:20.254" v="1361"/>
          <ac:spMkLst>
            <pc:docMk/>
            <pc:sldMk cId="1681458101" sldId="2209"/>
            <ac:spMk id="19" creationId="{72B19E3E-3342-EE36-90B2-7059333D08BF}"/>
          </ac:spMkLst>
        </pc:spChg>
        <pc:spChg chg="mod ord">
          <ac:chgData name="Vikesh Chugani" userId="9c759398cfaae00f" providerId="LiveId" clId="{9DD1F36D-C7B4-4854-8DA3-DF51EDD7316B}" dt="2025-08-20T10:19:20.253" v="1360"/>
          <ac:spMkLst>
            <pc:docMk/>
            <pc:sldMk cId="1681458101" sldId="2209"/>
            <ac:spMk id="20" creationId="{1A9DD12C-5DDD-5586-B1EA-B38657FB2AFE}"/>
          </ac:spMkLst>
        </pc:spChg>
        <pc:spChg chg="mod ord">
          <ac:chgData name="Vikesh Chugani" userId="9c759398cfaae00f" providerId="LiveId" clId="{9DD1F36D-C7B4-4854-8DA3-DF51EDD7316B}" dt="2025-08-20T10:19:20.276" v="1389"/>
          <ac:spMkLst>
            <pc:docMk/>
            <pc:sldMk cId="1681458101" sldId="2209"/>
            <ac:spMk id="21" creationId="{77342BC9-9373-05EB-B155-07947D2D2100}"/>
          </ac:spMkLst>
        </pc:spChg>
        <pc:spChg chg="mod ord">
          <ac:chgData name="Vikesh Chugani" userId="9c759398cfaae00f" providerId="LiveId" clId="{9DD1F36D-C7B4-4854-8DA3-DF51EDD7316B}" dt="2025-08-20T10:19:20.276" v="1389"/>
          <ac:spMkLst>
            <pc:docMk/>
            <pc:sldMk cId="1681458101" sldId="2209"/>
            <ac:spMk id="22" creationId="{121A8AE9-2484-C245-3572-2EC577B58E43}"/>
          </ac:spMkLst>
        </pc:spChg>
        <pc:spChg chg="mod ord">
          <ac:chgData name="Vikesh Chugani" userId="9c759398cfaae00f" providerId="LiveId" clId="{9DD1F36D-C7B4-4854-8DA3-DF51EDD7316B}" dt="2025-08-20T10:19:20.276" v="1389"/>
          <ac:spMkLst>
            <pc:docMk/>
            <pc:sldMk cId="1681458101" sldId="2209"/>
            <ac:spMk id="23" creationId="{5EE4553C-C9EF-A0C5-43F8-E16FDEEE0599}"/>
          </ac:spMkLst>
        </pc:spChg>
        <pc:spChg chg="mod ord">
          <ac:chgData name="Vikesh Chugani" userId="9c759398cfaae00f" providerId="LiveId" clId="{9DD1F36D-C7B4-4854-8DA3-DF51EDD7316B}" dt="2025-08-20T10:19:20.252" v="1356"/>
          <ac:spMkLst>
            <pc:docMk/>
            <pc:sldMk cId="1681458101" sldId="2209"/>
            <ac:spMk id="24" creationId="{E2042830-250B-F8AA-F480-8AC7663E489B}"/>
          </ac:spMkLst>
        </pc:spChg>
        <pc:spChg chg="add mod ord">
          <ac:chgData name="Vikesh Chugani" userId="9c759398cfaae00f" providerId="LiveId" clId="{9DD1F36D-C7B4-4854-8DA3-DF51EDD7316B}" dt="2025-08-20T10:19:20.251" v="1355"/>
          <ac:spMkLst>
            <pc:docMk/>
            <pc:sldMk cId="1681458101" sldId="2209"/>
            <ac:spMk id="25" creationId="{3282ECE0-2291-4CF5-7523-266B4CBC2CAD}"/>
          </ac:spMkLst>
        </pc:spChg>
        <pc:spChg chg="add mod ord">
          <ac:chgData name="Vikesh Chugani" userId="9c759398cfaae00f" providerId="LiveId" clId="{9DD1F36D-C7B4-4854-8DA3-DF51EDD7316B}" dt="2025-08-20T10:19:20.251" v="1354"/>
          <ac:spMkLst>
            <pc:docMk/>
            <pc:sldMk cId="1681458101" sldId="2209"/>
            <ac:spMk id="26" creationId="{6615E8A3-9C99-7A84-6BF1-761ACE04D040}"/>
          </ac:spMkLst>
        </pc:spChg>
        <pc:spChg chg="add del">
          <ac:chgData name="Vikesh Chugani" userId="9c759398cfaae00f" providerId="LiveId" clId="{9DD1F36D-C7B4-4854-8DA3-DF51EDD7316B}" dt="2025-08-20T10:19:20.950" v="1393" actId="478"/>
          <ac:spMkLst>
            <pc:docMk/>
            <pc:sldMk cId="1681458101" sldId="2209"/>
            <ac:spMk id="33" creationId="{7363FA27-0908-C3B9-FBBD-793425F0EAB7}"/>
          </ac:spMkLst>
        </pc:spChg>
        <pc:spChg chg="add del">
          <ac:chgData name="Vikesh Chugani" userId="9c759398cfaae00f" providerId="LiveId" clId="{9DD1F36D-C7B4-4854-8DA3-DF51EDD7316B}" dt="2025-08-20T10:19:20.950" v="1393" actId="478"/>
          <ac:spMkLst>
            <pc:docMk/>
            <pc:sldMk cId="1681458101" sldId="2209"/>
            <ac:spMk id="34" creationId="{FAC0FFCA-D9E9-9257-1276-F4EC661628F3}"/>
          </ac:spMkLst>
        </pc:spChg>
        <pc:spChg chg="add del">
          <ac:chgData name="Vikesh Chugani" userId="9c759398cfaae00f" providerId="LiveId" clId="{9DD1F36D-C7B4-4854-8DA3-DF51EDD7316B}" dt="2025-08-20T10:19:20.950" v="1393" actId="478"/>
          <ac:spMkLst>
            <pc:docMk/>
            <pc:sldMk cId="1681458101" sldId="2209"/>
            <ac:spMk id="35" creationId="{5C840442-2636-9E36-EE84-D843FDB0C96B}"/>
          </ac:spMkLst>
        </pc:spChg>
        <pc:spChg chg="add del">
          <ac:chgData name="Vikesh Chugani" userId="9c759398cfaae00f" providerId="LiveId" clId="{9DD1F36D-C7B4-4854-8DA3-DF51EDD7316B}" dt="2025-08-20T10:19:20.950" v="1393" actId="478"/>
          <ac:spMkLst>
            <pc:docMk/>
            <pc:sldMk cId="1681458101" sldId="2209"/>
            <ac:spMk id="36" creationId="{4553F3F5-33AB-A25A-4E2D-D6CD34FB4EC0}"/>
          </ac:spMkLst>
        </pc:spChg>
        <pc:spChg chg="add del">
          <ac:chgData name="Vikesh Chugani" userId="9c759398cfaae00f" providerId="LiveId" clId="{9DD1F36D-C7B4-4854-8DA3-DF51EDD7316B}" dt="2025-08-20T10:19:20.950" v="1393" actId="478"/>
          <ac:spMkLst>
            <pc:docMk/>
            <pc:sldMk cId="1681458101" sldId="2209"/>
            <ac:spMk id="63" creationId="{FAEAB10D-5015-3821-A9C7-4C9F69FDED2E}"/>
          </ac:spMkLst>
        </pc:spChg>
        <pc:spChg chg="mod">
          <ac:chgData name="Vikesh Chugani" userId="9c759398cfaae00f" providerId="LiveId" clId="{9DD1F36D-C7B4-4854-8DA3-DF51EDD7316B}" dt="2025-08-20T10:19:18.089" v="1254"/>
          <ac:spMkLst>
            <pc:docMk/>
            <pc:sldMk cId="1681458101" sldId="2209"/>
            <ac:spMk id="68" creationId="{8A6FE07A-4424-EA6D-3066-F371A2598A39}"/>
          </ac:spMkLst>
        </pc:spChg>
        <pc:spChg chg="add mod ord">
          <ac:chgData name="Vikesh Chugani" userId="9c759398cfaae00f" providerId="LiveId" clId="{9DD1F36D-C7B4-4854-8DA3-DF51EDD7316B}" dt="2025-08-20T10:19:20.250" v="1351"/>
          <ac:spMkLst>
            <pc:docMk/>
            <pc:sldMk cId="1681458101" sldId="2209"/>
            <ac:spMk id="76" creationId="{A3255974-7AA1-B59E-9F6A-990D4F8A1E71}"/>
          </ac:spMkLst>
        </pc:spChg>
        <pc:spChg chg="mod ord">
          <ac:chgData name="Vikesh Chugani" userId="9c759398cfaae00f" providerId="LiveId" clId="{9DD1F36D-C7B4-4854-8DA3-DF51EDD7316B}" dt="2025-08-20T10:19:20.276" v="1389"/>
          <ac:spMkLst>
            <pc:docMk/>
            <pc:sldMk cId="1681458101" sldId="2209"/>
            <ac:spMk id="77" creationId="{A4AFA69C-B2B0-0637-C09D-C8D8248A7A80}"/>
          </ac:spMkLst>
        </pc:spChg>
        <pc:spChg chg="mod ord">
          <ac:chgData name="Vikesh Chugani" userId="9c759398cfaae00f" providerId="LiveId" clId="{9DD1F36D-C7B4-4854-8DA3-DF51EDD7316B}" dt="2025-08-20T10:19:20.249" v="1348"/>
          <ac:spMkLst>
            <pc:docMk/>
            <pc:sldMk cId="1681458101" sldId="2209"/>
            <ac:spMk id="79" creationId="{61E67570-7131-CC50-E279-38EFFCDD94DF}"/>
          </ac:spMkLst>
        </pc:spChg>
        <pc:spChg chg="mod ord">
          <ac:chgData name="Vikesh Chugani" userId="9c759398cfaae00f" providerId="LiveId" clId="{9DD1F36D-C7B4-4854-8DA3-DF51EDD7316B}" dt="2025-08-20T10:19:20.249" v="1347"/>
          <ac:spMkLst>
            <pc:docMk/>
            <pc:sldMk cId="1681458101" sldId="2209"/>
            <ac:spMk id="80" creationId="{62A1BEE4-2A03-1F15-0988-37E20C6E0007}"/>
          </ac:spMkLst>
        </pc:spChg>
        <pc:spChg chg="mod ord">
          <ac:chgData name="Vikesh Chugani" userId="9c759398cfaae00f" providerId="LiveId" clId="{9DD1F36D-C7B4-4854-8DA3-DF51EDD7316B}" dt="2025-08-20T10:19:20.248" v="1346"/>
          <ac:spMkLst>
            <pc:docMk/>
            <pc:sldMk cId="1681458101" sldId="2209"/>
            <ac:spMk id="81" creationId="{1CBF2306-64D9-EEC5-2FA8-49C8332B4A43}"/>
          </ac:spMkLst>
        </pc:spChg>
        <pc:spChg chg="mod">
          <ac:chgData name="Vikesh Chugani" userId="9c759398cfaae00f" providerId="LiveId" clId="{9DD1F36D-C7B4-4854-8DA3-DF51EDD7316B}" dt="2025-08-20T10:19:18.171" v="1339"/>
          <ac:spMkLst>
            <pc:docMk/>
            <pc:sldMk cId="1681458101" sldId="2209"/>
            <ac:spMk id="82" creationId="{2AAE0482-CA2A-E0C1-D52E-07C8C53DCABD}"/>
          </ac:spMkLst>
        </pc:spChg>
        <pc:spChg chg="add del mod modVis">
          <ac:chgData name="Vikesh Chugani" userId="9c759398cfaae00f" providerId="LiveId" clId="{9DD1F36D-C7B4-4854-8DA3-DF51EDD7316B}" dt="2025-08-20T10:19:20.276" v="1389"/>
          <ac:spMkLst>
            <pc:docMk/>
            <pc:sldMk cId="1681458101" sldId="2209"/>
            <ac:spMk id="83" creationId="{2038F096-06DC-F2F7-C82A-A8C686FEEDF0}"/>
          </ac:spMkLst>
        </pc:spChg>
        <pc:grpChg chg="mod ord">
          <ac:chgData name="Vikesh Chugani" userId="9c759398cfaae00f" providerId="LiveId" clId="{9DD1F36D-C7B4-4854-8DA3-DF51EDD7316B}" dt="2025-08-20T10:19:20.251" v="1353"/>
          <ac:grpSpMkLst>
            <pc:docMk/>
            <pc:sldMk cId="1681458101" sldId="2209"/>
            <ac:grpSpMk id="27" creationId="{964BF36F-9AC5-8DB6-B60D-416BC8AB7D20}"/>
          </ac:grpSpMkLst>
        </pc:grpChg>
        <pc:grpChg chg="mod ord">
          <ac:chgData name="Vikesh Chugani" userId="9c759398cfaae00f" providerId="LiveId" clId="{9DD1F36D-C7B4-4854-8DA3-DF51EDD7316B}" dt="2025-08-20T10:19:20.250" v="1352"/>
          <ac:grpSpMkLst>
            <pc:docMk/>
            <pc:sldMk cId="1681458101" sldId="2209"/>
            <ac:grpSpMk id="54" creationId="{9A79FA99-3A0A-8E0D-EC4B-8726B2F90EDF}"/>
          </ac:grpSpMkLst>
        </pc:grpChg>
        <pc:graphicFrameChg chg="mod">
          <ac:chgData name="Vikesh Chugani" userId="9c759398cfaae00f" providerId="LiveId" clId="{9DD1F36D-C7B4-4854-8DA3-DF51EDD7316B}" dt="2025-08-20T10:19:20.947" v="1392" actId="1076"/>
          <ac:graphicFrameMkLst>
            <pc:docMk/>
            <pc:sldMk cId="1681458101" sldId="2209"/>
            <ac:graphicFrameMk id="65" creationId="{1E46E5DD-00D7-A035-E99F-418301837ADB}"/>
          </ac:graphicFrameMkLst>
        </pc:graphicFrameChg>
        <pc:graphicFrameChg chg="add del">
          <ac:chgData name="Vikesh Chugani" userId="9c759398cfaae00f" providerId="LiveId" clId="{9DD1F36D-C7B4-4854-8DA3-DF51EDD7316B}" dt="2025-08-20T10:19:20.267" v="1376" actId="478"/>
          <ac:graphicFrameMkLst>
            <pc:docMk/>
            <pc:sldMk cId="1681458101" sldId="2209"/>
            <ac:graphicFrameMk id="78" creationId="{0CEB513C-0FB2-95FA-6120-E2B61DE6AF60}"/>
          </ac:graphicFrameMkLst>
        </pc:graphicFrameChg>
        <pc:graphicFrameChg chg="add mod ord">
          <ac:chgData name="Vikesh Chugani" userId="9c759398cfaae00f" providerId="LiveId" clId="{9DD1F36D-C7B4-4854-8DA3-DF51EDD7316B}" dt="2025-08-20T10:19:20.265" v="1375" actId="1076"/>
          <ac:graphicFrameMkLst>
            <pc:docMk/>
            <pc:sldMk cId="1681458101" sldId="2209"/>
            <ac:graphicFrameMk id="84" creationId="{EBCFA1E1-6223-2E00-6F58-A30748AE3DE8}"/>
          </ac:graphicFrameMkLst>
        </pc:graphicFrameChg>
        <pc:picChg chg="del">
          <ac:chgData name="Vikesh Chugani" userId="9c759398cfaae00f" providerId="LiveId" clId="{9DD1F36D-C7B4-4854-8DA3-DF51EDD7316B}" dt="2025-08-20T10:19:11.653" v="1253" actId="478"/>
          <ac:picMkLst>
            <pc:docMk/>
            <pc:sldMk cId="1681458101" sldId="2209"/>
            <ac:picMk id="67" creationId="{F8CD24A7-BB86-F857-24DF-FCF6CE519820}"/>
          </ac:picMkLst>
        </pc:picChg>
        <pc:picChg chg="add">
          <ac:chgData name="Vikesh Chugani" userId="9c759398cfaae00f" providerId="LiveId" clId="{9DD1F36D-C7B4-4854-8DA3-DF51EDD7316B}" dt="2025-08-20T10:19:20.950" v="1393" actId="478"/>
          <ac:picMkLst>
            <pc:docMk/>
            <pc:sldMk cId="1681458101" sldId="2209"/>
            <ac:picMk id="73" creationId="{1BE90A24-70F1-5647-AA4C-FC8EB0F924F2}"/>
          </ac:picMkLst>
        </pc:picChg>
      </pc:sldChg>
      <pc:sldChg chg="addSp delSp modSp add mod ord">
        <pc:chgData name="Vikesh Chugani" userId="9c759398cfaae00f" providerId="LiveId" clId="{9DD1F36D-C7B4-4854-8DA3-DF51EDD7316B}" dt="2025-08-20T15:03:13.277" v="2724"/>
        <pc:sldMkLst>
          <pc:docMk/>
          <pc:sldMk cId="2976705604" sldId="2210"/>
        </pc:sldMkLst>
        <pc:spChg chg="add mod">
          <ac:chgData name="Vikesh Chugani" userId="9c759398cfaae00f" providerId="LiveId" clId="{9DD1F36D-C7B4-4854-8DA3-DF51EDD7316B}" dt="2025-08-20T15:02:33.946" v="2719"/>
          <ac:spMkLst>
            <pc:docMk/>
            <pc:sldMk cId="2976705604" sldId="2210"/>
            <ac:spMk id="2" creationId="{5429A2EF-26C3-A8CD-5796-9D06681E1BA9}"/>
          </ac:spMkLst>
        </pc:spChg>
        <pc:spChg chg="add mod">
          <ac:chgData name="Vikesh Chugani" userId="9c759398cfaae00f" providerId="LiveId" clId="{9DD1F36D-C7B4-4854-8DA3-DF51EDD7316B}" dt="2025-08-20T15:02:33.946" v="2719"/>
          <ac:spMkLst>
            <pc:docMk/>
            <pc:sldMk cId="2976705604" sldId="2210"/>
            <ac:spMk id="8" creationId="{7B10B551-26F3-61AC-572D-F66A4327242D}"/>
          </ac:spMkLst>
        </pc:spChg>
        <pc:spChg chg="add mod">
          <ac:chgData name="Vikesh Chugani" userId="9c759398cfaae00f" providerId="LiveId" clId="{9DD1F36D-C7B4-4854-8DA3-DF51EDD7316B}" dt="2025-08-20T15:02:33.946" v="2719"/>
          <ac:spMkLst>
            <pc:docMk/>
            <pc:sldMk cId="2976705604" sldId="2210"/>
            <ac:spMk id="9" creationId="{DE09AD6E-54A3-7B95-6BEA-5C178326B85D}"/>
          </ac:spMkLst>
        </pc:spChg>
        <pc:spChg chg="add mod">
          <ac:chgData name="Vikesh Chugani" userId="9c759398cfaae00f" providerId="LiveId" clId="{9DD1F36D-C7B4-4854-8DA3-DF51EDD7316B}" dt="2025-08-20T15:02:33.946" v="2719"/>
          <ac:spMkLst>
            <pc:docMk/>
            <pc:sldMk cId="2976705604" sldId="2210"/>
            <ac:spMk id="10" creationId="{67B8B780-F472-B0C3-B0D7-BC1FE4B67BDA}"/>
          </ac:spMkLst>
        </pc:spChg>
        <pc:spChg chg="mod">
          <ac:chgData name="Vikesh Chugani" userId="9c759398cfaae00f" providerId="LiveId" clId="{9DD1F36D-C7B4-4854-8DA3-DF51EDD7316B}" dt="2025-08-20T15:02:33.946" v="2719"/>
          <ac:spMkLst>
            <pc:docMk/>
            <pc:sldMk cId="2976705604" sldId="2210"/>
            <ac:spMk id="13" creationId="{CAFB708E-5689-E38C-F817-C591EFEF9854}"/>
          </ac:spMkLst>
        </pc:spChg>
        <pc:spChg chg="mod">
          <ac:chgData name="Vikesh Chugani" userId="9c759398cfaae00f" providerId="LiveId" clId="{9DD1F36D-C7B4-4854-8DA3-DF51EDD7316B}" dt="2025-08-20T15:02:33.946" v="2719"/>
          <ac:spMkLst>
            <pc:docMk/>
            <pc:sldMk cId="2976705604" sldId="2210"/>
            <ac:spMk id="14" creationId="{FAB05906-AD7A-3E91-90A8-F380E7E15ABA}"/>
          </ac:spMkLst>
        </pc:spChg>
        <pc:spChg chg="mod">
          <ac:chgData name="Vikesh Chugani" userId="9c759398cfaae00f" providerId="LiveId" clId="{9DD1F36D-C7B4-4854-8DA3-DF51EDD7316B}" dt="2025-08-20T15:02:33.946" v="2719"/>
          <ac:spMkLst>
            <pc:docMk/>
            <pc:sldMk cId="2976705604" sldId="2210"/>
            <ac:spMk id="18" creationId="{76BF4239-68C3-240B-4070-555A610CF6DE}"/>
          </ac:spMkLst>
        </pc:spChg>
        <pc:spChg chg="add mod">
          <ac:chgData name="Vikesh Chugani" userId="9c759398cfaae00f" providerId="LiveId" clId="{9DD1F36D-C7B4-4854-8DA3-DF51EDD7316B}" dt="2025-08-20T15:02:52.260" v="2721"/>
          <ac:spMkLst>
            <pc:docMk/>
            <pc:sldMk cId="2976705604" sldId="2210"/>
            <ac:spMk id="19" creationId="{022D3560-CE0D-BEB2-699D-AFDAC07F5C52}"/>
          </ac:spMkLst>
        </pc:spChg>
        <pc:spChg chg="add mod">
          <ac:chgData name="Vikesh Chugani" userId="9c759398cfaae00f" providerId="LiveId" clId="{9DD1F36D-C7B4-4854-8DA3-DF51EDD7316B}" dt="2025-08-20T15:02:52.260" v="2721"/>
          <ac:spMkLst>
            <pc:docMk/>
            <pc:sldMk cId="2976705604" sldId="2210"/>
            <ac:spMk id="25" creationId="{69F38AC7-5791-D45E-C4AB-38665ED152A3}"/>
          </ac:spMkLst>
        </pc:spChg>
        <pc:spChg chg="add mod">
          <ac:chgData name="Vikesh Chugani" userId="9c759398cfaae00f" providerId="LiveId" clId="{9DD1F36D-C7B4-4854-8DA3-DF51EDD7316B}" dt="2025-08-20T15:02:52.260" v="2721"/>
          <ac:spMkLst>
            <pc:docMk/>
            <pc:sldMk cId="2976705604" sldId="2210"/>
            <ac:spMk id="26" creationId="{E501A46A-EFB7-AFFD-F2E2-60344F4A37BA}"/>
          </ac:spMkLst>
        </pc:spChg>
        <pc:spChg chg="add mod">
          <ac:chgData name="Vikesh Chugani" userId="9c759398cfaae00f" providerId="LiveId" clId="{9DD1F36D-C7B4-4854-8DA3-DF51EDD7316B}" dt="2025-08-20T15:02:52.260" v="2721"/>
          <ac:spMkLst>
            <pc:docMk/>
            <pc:sldMk cId="2976705604" sldId="2210"/>
            <ac:spMk id="27" creationId="{085F0B7F-DBEB-60CE-FEC3-4F8221B3ADF8}"/>
          </ac:spMkLst>
        </pc:spChg>
        <pc:spChg chg="mod">
          <ac:chgData name="Vikesh Chugani" userId="9c759398cfaae00f" providerId="LiveId" clId="{9DD1F36D-C7B4-4854-8DA3-DF51EDD7316B}" dt="2025-08-20T15:02:52.260" v="2721"/>
          <ac:spMkLst>
            <pc:docMk/>
            <pc:sldMk cId="2976705604" sldId="2210"/>
            <ac:spMk id="30" creationId="{4A6660C9-A473-84B2-7F17-8673FFC94EFE}"/>
          </ac:spMkLst>
        </pc:spChg>
        <pc:spChg chg="mod">
          <ac:chgData name="Vikesh Chugani" userId="9c759398cfaae00f" providerId="LiveId" clId="{9DD1F36D-C7B4-4854-8DA3-DF51EDD7316B}" dt="2025-08-20T15:02:52.260" v="2721"/>
          <ac:spMkLst>
            <pc:docMk/>
            <pc:sldMk cId="2976705604" sldId="2210"/>
            <ac:spMk id="31" creationId="{93F1FE18-ADC2-0981-4680-627380A90AF9}"/>
          </ac:spMkLst>
        </pc:spChg>
        <pc:spChg chg="mod">
          <ac:chgData name="Vikesh Chugani" userId="9c759398cfaae00f" providerId="LiveId" clId="{9DD1F36D-C7B4-4854-8DA3-DF51EDD7316B}" dt="2025-08-20T15:02:52.260" v="2721"/>
          <ac:spMkLst>
            <pc:docMk/>
            <pc:sldMk cId="2976705604" sldId="2210"/>
            <ac:spMk id="32" creationId="{8E02B71A-BE98-8608-08C7-05E95157B6BB}"/>
          </ac:spMkLst>
        </pc:spChg>
        <pc:spChg chg="add mod">
          <ac:chgData name="Vikesh Chugani" userId="9c759398cfaae00f" providerId="LiveId" clId="{9DD1F36D-C7B4-4854-8DA3-DF51EDD7316B}" dt="2025-08-20T15:03:13.277" v="2724"/>
          <ac:spMkLst>
            <pc:docMk/>
            <pc:sldMk cId="2976705604" sldId="2210"/>
            <ac:spMk id="33" creationId="{8A49A020-8F11-FFEC-E8C7-9571C78534A7}"/>
          </ac:spMkLst>
        </pc:spChg>
        <pc:spChg chg="add mod">
          <ac:chgData name="Vikesh Chugani" userId="9c759398cfaae00f" providerId="LiveId" clId="{9DD1F36D-C7B4-4854-8DA3-DF51EDD7316B}" dt="2025-08-20T15:03:13.277" v="2724"/>
          <ac:spMkLst>
            <pc:docMk/>
            <pc:sldMk cId="2976705604" sldId="2210"/>
            <ac:spMk id="39" creationId="{5F413D05-6FEF-9C54-329E-4AD37BEF2AE8}"/>
          </ac:spMkLst>
        </pc:spChg>
        <pc:spChg chg="add mod">
          <ac:chgData name="Vikesh Chugani" userId="9c759398cfaae00f" providerId="LiveId" clId="{9DD1F36D-C7B4-4854-8DA3-DF51EDD7316B}" dt="2025-08-20T15:03:13.277" v="2724"/>
          <ac:spMkLst>
            <pc:docMk/>
            <pc:sldMk cId="2976705604" sldId="2210"/>
            <ac:spMk id="40" creationId="{74224609-9ABD-C1C0-381D-62F5A0C54EAC}"/>
          </ac:spMkLst>
        </pc:spChg>
        <pc:spChg chg="add mod">
          <ac:chgData name="Vikesh Chugani" userId="9c759398cfaae00f" providerId="LiveId" clId="{9DD1F36D-C7B4-4854-8DA3-DF51EDD7316B}" dt="2025-08-20T15:03:13.277" v="2724"/>
          <ac:spMkLst>
            <pc:docMk/>
            <pc:sldMk cId="2976705604" sldId="2210"/>
            <ac:spMk id="41" creationId="{A3A765AB-9A6D-77EF-8FE0-CD547334AB0C}"/>
          </ac:spMkLst>
        </pc:spChg>
        <pc:spChg chg="mod">
          <ac:chgData name="Vikesh Chugani" userId="9c759398cfaae00f" providerId="LiveId" clId="{9DD1F36D-C7B4-4854-8DA3-DF51EDD7316B}" dt="2025-08-20T15:03:13.277" v="2724"/>
          <ac:spMkLst>
            <pc:docMk/>
            <pc:sldMk cId="2976705604" sldId="2210"/>
            <ac:spMk id="44" creationId="{E52EDD5F-2795-31A4-7FF8-0D7EA9DE0D9C}"/>
          </ac:spMkLst>
        </pc:spChg>
        <pc:spChg chg="mod">
          <ac:chgData name="Vikesh Chugani" userId="9c759398cfaae00f" providerId="LiveId" clId="{9DD1F36D-C7B4-4854-8DA3-DF51EDD7316B}" dt="2025-08-20T15:03:13.277" v="2724"/>
          <ac:spMkLst>
            <pc:docMk/>
            <pc:sldMk cId="2976705604" sldId="2210"/>
            <ac:spMk id="45" creationId="{EFBDCCD1-83E6-AA51-D83F-1AB6DA377663}"/>
          </ac:spMkLst>
        </pc:spChg>
        <pc:spChg chg="mod">
          <ac:chgData name="Vikesh Chugani" userId="9c759398cfaae00f" providerId="LiveId" clId="{9DD1F36D-C7B4-4854-8DA3-DF51EDD7316B}" dt="2025-08-20T15:03:13.277" v="2724"/>
          <ac:spMkLst>
            <pc:docMk/>
            <pc:sldMk cId="2976705604" sldId="2210"/>
            <ac:spMk id="46" creationId="{61052D7A-7A5A-09D7-7FC5-74AC0BDC4B16}"/>
          </ac:spMkLst>
        </pc:spChg>
        <pc:spChg chg="del">
          <ac:chgData name="Vikesh Chugani" userId="9c759398cfaae00f" providerId="LiveId" clId="{9DD1F36D-C7B4-4854-8DA3-DF51EDD7316B}" dt="2025-08-20T15:02:29.565" v="2716" actId="478"/>
          <ac:spMkLst>
            <pc:docMk/>
            <pc:sldMk cId="2976705604" sldId="2210"/>
            <ac:spMk id="857" creationId="{00000000-0000-0000-0000-000000000000}"/>
          </ac:spMkLst>
        </pc:spChg>
        <pc:spChg chg="del">
          <ac:chgData name="Vikesh Chugani" userId="9c759398cfaae00f" providerId="LiveId" clId="{9DD1F36D-C7B4-4854-8DA3-DF51EDD7316B}" dt="2025-08-20T15:02:26.340" v="2714" actId="478"/>
          <ac:spMkLst>
            <pc:docMk/>
            <pc:sldMk cId="2976705604" sldId="2210"/>
            <ac:spMk id="863" creationId="{00000000-0000-0000-0000-000000000000}"/>
          </ac:spMkLst>
        </pc:spChg>
        <pc:spChg chg="del">
          <ac:chgData name="Vikesh Chugani" userId="9c759398cfaae00f" providerId="LiveId" clId="{9DD1F36D-C7B4-4854-8DA3-DF51EDD7316B}" dt="2025-08-20T15:02:31.837" v="2717" actId="478"/>
          <ac:spMkLst>
            <pc:docMk/>
            <pc:sldMk cId="2976705604" sldId="2210"/>
            <ac:spMk id="864" creationId="{00000000-0000-0000-0000-000000000000}"/>
          </ac:spMkLst>
        </pc:spChg>
        <pc:spChg chg="del">
          <ac:chgData name="Vikesh Chugani" userId="9c759398cfaae00f" providerId="LiveId" clId="{9DD1F36D-C7B4-4854-8DA3-DF51EDD7316B}" dt="2025-08-20T15:02:21.764" v="2710" actId="478"/>
          <ac:spMkLst>
            <pc:docMk/>
            <pc:sldMk cId="2976705604" sldId="2210"/>
            <ac:spMk id="865" creationId="{00000000-0000-0000-0000-000000000000}"/>
          </ac:spMkLst>
        </pc:spChg>
        <pc:grpChg chg="add mod">
          <ac:chgData name="Vikesh Chugani" userId="9c759398cfaae00f" providerId="LiveId" clId="{9DD1F36D-C7B4-4854-8DA3-DF51EDD7316B}" dt="2025-08-20T15:02:33.946" v="2719"/>
          <ac:grpSpMkLst>
            <pc:docMk/>
            <pc:sldMk cId="2976705604" sldId="2210"/>
            <ac:grpSpMk id="11" creationId="{4E53E84D-6A6E-BE68-35D3-1CFDE6C88856}"/>
          </ac:grpSpMkLst>
        </pc:grpChg>
        <pc:grpChg chg="mod">
          <ac:chgData name="Vikesh Chugani" userId="9c759398cfaae00f" providerId="LiveId" clId="{9DD1F36D-C7B4-4854-8DA3-DF51EDD7316B}" dt="2025-08-20T15:02:33.946" v="2719"/>
          <ac:grpSpMkLst>
            <pc:docMk/>
            <pc:sldMk cId="2976705604" sldId="2210"/>
            <ac:grpSpMk id="12" creationId="{B3D410AF-7BB4-D9F3-9621-E1A8D3503955}"/>
          </ac:grpSpMkLst>
        </pc:grpChg>
        <pc:grpChg chg="add mod">
          <ac:chgData name="Vikesh Chugani" userId="9c759398cfaae00f" providerId="LiveId" clId="{9DD1F36D-C7B4-4854-8DA3-DF51EDD7316B}" dt="2025-08-20T15:02:52.260" v="2721"/>
          <ac:grpSpMkLst>
            <pc:docMk/>
            <pc:sldMk cId="2976705604" sldId="2210"/>
            <ac:grpSpMk id="28" creationId="{4F6D7CBD-0703-5604-A68B-BE9F907FCA6D}"/>
          </ac:grpSpMkLst>
        </pc:grpChg>
        <pc:grpChg chg="mod">
          <ac:chgData name="Vikesh Chugani" userId="9c759398cfaae00f" providerId="LiveId" clId="{9DD1F36D-C7B4-4854-8DA3-DF51EDD7316B}" dt="2025-08-20T15:02:52.260" v="2721"/>
          <ac:grpSpMkLst>
            <pc:docMk/>
            <pc:sldMk cId="2976705604" sldId="2210"/>
            <ac:grpSpMk id="29" creationId="{ACFA5DC2-FBD2-69FF-535F-6691EB65EBB8}"/>
          </ac:grpSpMkLst>
        </pc:grpChg>
        <pc:grpChg chg="add mod">
          <ac:chgData name="Vikesh Chugani" userId="9c759398cfaae00f" providerId="LiveId" clId="{9DD1F36D-C7B4-4854-8DA3-DF51EDD7316B}" dt="2025-08-20T15:03:13.277" v="2724"/>
          <ac:grpSpMkLst>
            <pc:docMk/>
            <pc:sldMk cId="2976705604" sldId="2210"/>
            <ac:grpSpMk id="42" creationId="{871BD4F1-1657-3B15-7ACA-E7236ABB6B33}"/>
          </ac:grpSpMkLst>
        </pc:grpChg>
        <pc:grpChg chg="mod">
          <ac:chgData name="Vikesh Chugani" userId="9c759398cfaae00f" providerId="LiveId" clId="{9DD1F36D-C7B4-4854-8DA3-DF51EDD7316B}" dt="2025-08-20T15:03:13.277" v="2724"/>
          <ac:grpSpMkLst>
            <pc:docMk/>
            <pc:sldMk cId="2976705604" sldId="2210"/>
            <ac:grpSpMk id="43" creationId="{62A3C112-92FA-5DE0-2E19-E697697B649F}"/>
          </ac:grpSpMkLst>
        </pc:grpChg>
        <pc:cxnChg chg="add mod">
          <ac:chgData name="Vikesh Chugani" userId="9c759398cfaae00f" providerId="LiveId" clId="{9DD1F36D-C7B4-4854-8DA3-DF51EDD7316B}" dt="2025-08-20T15:02:33.946" v="2719"/>
          <ac:cxnSpMkLst>
            <pc:docMk/>
            <pc:sldMk cId="2976705604" sldId="2210"/>
            <ac:cxnSpMk id="3" creationId="{2C82FA84-13E5-7941-3ACA-101BCAAD6ED4}"/>
          </ac:cxnSpMkLst>
        </pc:cxnChg>
        <pc:cxnChg chg="add mod">
          <ac:chgData name="Vikesh Chugani" userId="9c759398cfaae00f" providerId="LiveId" clId="{9DD1F36D-C7B4-4854-8DA3-DF51EDD7316B}" dt="2025-08-20T15:02:52.260" v="2721"/>
          <ac:cxnSpMkLst>
            <pc:docMk/>
            <pc:sldMk cId="2976705604" sldId="2210"/>
            <ac:cxnSpMk id="24" creationId="{A5B787A6-FB88-FD30-ECF8-EEE15E82A74B}"/>
          </ac:cxnSpMkLst>
        </pc:cxnChg>
        <pc:cxnChg chg="add mod">
          <ac:chgData name="Vikesh Chugani" userId="9c759398cfaae00f" providerId="LiveId" clId="{9DD1F36D-C7B4-4854-8DA3-DF51EDD7316B}" dt="2025-08-20T15:03:13.277" v="2724"/>
          <ac:cxnSpMkLst>
            <pc:docMk/>
            <pc:sldMk cId="2976705604" sldId="2210"/>
            <ac:cxnSpMk id="36" creationId="{C76C206A-BAA0-EF49-4E87-3FA2E39341FA}"/>
          </ac:cxnSpMkLst>
        </pc:cxnChg>
        <pc:cxnChg chg="del">
          <ac:chgData name="Vikesh Chugani" userId="9c759398cfaae00f" providerId="LiveId" clId="{9DD1F36D-C7B4-4854-8DA3-DF51EDD7316B}" dt="2025-08-20T15:02:22.661" v="2711" actId="478"/>
          <ac:cxnSpMkLst>
            <pc:docMk/>
            <pc:sldMk cId="2976705604" sldId="2210"/>
            <ac:cxnSpMk id="858" creationId="{00000000-0000-0000-0000-000000000000}"/>
          </ac:cxnSpMkLst>
        </pc:cxnChg>
        <pc:cxnChg chg="del">
          <ac:chgData name="Vikesh Chugani" userId="9c759398cfaae00f" providerId="LiveId" clId="{9DD1F36D-C7B4-4854-8DA3-DF51EDD7316B}" dt="2025-08-20T15:02:32.868" v="2718" actId="478"/>
          <ac:cxnSpMkLst>
            <pc:docMk/>
            <pc:sldMk cId="2976705604" sldId="2210"/>
            <ac:cxnSpMk id="859" creationId="{00000000-0000-0000-0000-000000000000}"/>
          </ac:cxnSpMkLst>
        </pc:cxnChg>
        <pc:cxnChg chg="del">
          <ac:chgData name="Vikesh Chugani" userId="9c759398cfaae00f" providerId="LiveId" clId="{9DD1F36D-C7B4-4854-8DA3-DF51EDD7316B}" dt="2025-08-20T15:02:23.743" v="2712" actId="478"/>
          <ac:cxnSpMkLst>
            <pc:docMk/>
            <pc:sldMk cId="2976705604" sldId="2210"/>
            <ac:cxnSpMk id="860" creationId="{00000000-0000-0000-0000-000000000000}"/>
          </ac:cxnSpMkLst>
        </pc:cxnChg>
        <pc:cxnChg chg="del">
          <ac:chgData name="Vikesh Chugani" userId="9c759398cfaae00f" providerId="LiveId" clId="{9DD1F36D-C7B4-4854-8DA3-DF51EDD7316B}" dt="2025-08-20T15:02:24.652" v="2713" actId="478"/>
          <ac:cxnSpMkLst>
            <pc:docMk/>
            <pc:sldMk cId="2976705604" sldId="2210"/>
            <ac:cxnSpMk id="861" creationId="{00000000-0000-0000-0000-000000000000}"/>
          </ac:cxnSpMkLst>
        </pc:cxnChg>
        <pc:cxnChg chg="del">
          <ac:chgData name="Vikesh Chugani" userId="9c759398cfaae00f" providerId="LiveId" clId="{9DD1F36D-C7B4-4854-8DA3-DF51EDD7316B}" dt="2025-08-20T15:02:27.276" v="2715" actId="478"/>
          <ac:cxnSpMkLst>
            <pc:docMk/>
            <pc:sldMk cId="2976705604" sldId="2210"/>
            <ac:cxnSpMk id="862" creationId="{00000000-0000-0000-0000-000000000000}"/>
          </ac:cxnSpMkLst>
        </pc:cxnChg>
      </pc:sldChg>
      <pc:sldMasterChg chg="delSldLayout">
        <pc:chgData name="Vikesh Chugani" userId="9c759398cfaae00f" providerId="LiveId" clId="{9DD1F36D-C7B4-4854-8DA3-DF51EDD7316B}" dt="2025-08-20T15:00:15.508" v="2675" actId="47"/>
        <pc:sldMasterMkLst>
          <pc:docMk/>
          <pc:sldMasterMk cId="0" sldId="2147483648"/>
        </pc:sldMasterMkLst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0" sldId="2147483648"/>
            <pc:sldLayoutMk cId="2486692988" sldId="2147483665"/>
          </pc:sldLayoutMkLst>
        </pc:sldLayoutChg>
      </pc:sldMasterChg>
      <pc:sldMasterChg chg="del delSldLayout">
        <pc:chgData name="Vikesh Chugani" userId="9c759398cfaae00f" providerId="LiveId" clId="{9DD1F36D-C7B4-4854-8DA3-DF51EDD7316B}" dt="2025-08-20T15:00:15.508" v="2675" actId="47"/>
        <pc:sldMasterMkLst>
          <pc:docMk/>
          <pc:sldMasterMk cId="2118750587" sldId="2147483790"/>
        </pc:sldMasterMkLst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2968600400" sldId="2147483791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450235288" sldId="2147483792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4065977623" sldId="2147483793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966791997" sldId="2147483794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926378682" sldId="2147483795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2162742503" sldId="2147483796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1993141109" sldId="2147483797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3809496893" sldId="2147483798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1452733732" sldId="2147483799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779847674" sldId="2147483800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896292176" sldId="2147483801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2557924862" sldId="2147483802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924540932" sldId="2147483803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3526593998" sldId="2147483804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2228676215" sldId="2147483805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3222609823" sldId="2147483806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3692834699" sldId="2147483807"/>
          </pc:sldLayoutMkLst>
        </pc:sldLayoutChg>
      </pc:sldMasterChg>
      <pc:sldMasterChg chg="modSp del mod delSldLayout">
        <pc:chgData name="Vikesh Chugani" userId="9c759398cfaae00f" providerId="LiveId" clId="{9DD1F36D-C7B4-4854-8DA3-DF51EDD7316B}" dt="2025-08-20T10:19:34.137" v="1463" actId="47"/>
        <pc:sldMasterMkLst>
          <pc:docMk/>
          <pc:sldMasterMk cId="554445263" sldId="2147483808"/>
        </pc:sldMasterMkLst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1408505614" sldId="2147483809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858972974" sldId="2147483810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172505629" sldId="2147483811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2531528658" sldId="2147483812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966126675" sldId="2147483813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290952551" sldId="2147483814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1004143851" sldId="2147483815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3682711518" sldId="2147483816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1604759207" sldId="2147483817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4022379752" sldId="2147483818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1893863542" sldId="2147483819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1637746365" sldId="2147483820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1246164269" sldId="2147483821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4204646923" sldId="2147483822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740222905" sldId="2147483823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3736122805" sldId="2147483824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580328537" sldId="2147483825"/>
          </pc:sldLayoutMkLst>
        </pc:sldLayoutChg>
        <pc:sldLayoutChg chg="del">
          <pc:chgData name="Vikesh Chugani" userId="9c759398cfaae00f" providerId="LiveId" clId="{9DD1F36D-C7B4-4854-8DA3-DF51EDD7316B}" dt="2025-08-18T16:42:28.528" v="389" actId="47"/>
          <pc:sldLayoutMkLst>
            <pc:docMk/>
            <pc:sldMasterMk cId="554445263" sldId="2147483808"/>
            <pc:sldLayoutMk cId="1219676486" sldId="2147483826"/>
          </pc:sldLayoutMkLst>
        </pc:sldLayoutChg>
      </pc:sldMasterChg>
      <pc:sldMasterChg chg="modSp del mod delSldLayout">
        <pc:chgData name="Vikesh Chugani" userId="9c759398cfaae00f" providerId="LiveId" clId="{9DD1F36D-C7B4-4854-8DA3-DF51EDD7316B}" dt="2025-08-20T13:50:51.711" v="2497" actId="47"/>
        <pc:sldMasterMkLst>
          <pc:docMk/>
          <pc:sldMasterMk cId="2993734219" sldId="2147483828"/>
        </pc:sldMasterMkLst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1633932866" sldId="2147483829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731112113" sldId="2147483830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2747259478" sldId="2147483831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2258130483" sldId="2147483832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3182987928" sldId="2147483833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3648093078" sldId="2147483834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758683193" sldId="2147483835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982637985" sldId="2147483836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1101513381" sldId="2147483837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399183769" sldId="2147483838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1171680733" sldId="2147483839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1591967883" sldId="2147483840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3929259570" sldId="2147483841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2173885744" sldId="2147483842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2800868582" sldId="2147483843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1448907126" sldId="2147483844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921820670" sldId="2147483845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1817723041" sldId="2147483846"/>
          </pc:sldLayoutMkLst>
        </pc:sldLayoutChg>
      </pc:sldMasterChg>
    </pc:docChg>
  </pc:docChgLst>
  <pc:docChgLst>
    <pc:chgData name="Vikesh Chugani" userId="9c759398cfaae00f" providerId="LiveId" clId="{93B14FD8-A78B-41AE-80C9-362F1C9C9C40}"/>
    <pc:docChg chg="undo custSel addSld delSld modSld sldOrd modSection">
      <pc:chgData name="Vikesh Chugani" userId="9c759398cfaae00f" providerId="LiveId" clId="{93B14FD8-A78B-41AE-80C9-362F1C9C9C40}" dt="2025-08-21T10:54:06.079" v="2466" actId="47"/>
      <pc:docMkLst>
        <pc:docMk/>
      </pc:docMkLst>
      <pc:sldChg chg="del">
        <pc:chgData name="Vikesh Chugani" userId="9c759398cfaae00f" providerId="LiveId" clId="{93B14FD8-A78B-41AE-80C9-362F1C9C9C40}" dt="2025-08-20T15:11:43.822" v="5" actId="47"/>
        <pc:sldMkLst>
          <pc:docMk/>
          <pc:sldMk cId="0" sldId="256"/>
        </pc:sldMkLst>
      </pc:sldChg>
      <pc:sldChg chg="del">
        <pc:chgData name="Vikesh Chugani" userId="9c759398cfaae00f" providerId="LiveId" clId="{93B14FD8-A78B-41AE-80C9-362F1C9C9C40}" dt="2025-08-20T15:11:58.157" v="9" actId="47"/>
        <pc:sldMkLst>
          <pc:docMk/>
          <pc:sldMk cId="990182570" sldId="337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2873868313" sldId="382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3504111010" sldId="385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3212138946" sldId="387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1997537558" sldId="514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2344106334" sldId="1458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4204641025" sldId="1768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1957612480" sldId="1843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1138289792" sldId="1858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3831877885" sldId="1859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727476447" sldId="1862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214491966" sldId="1864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1353234795" sldId="1866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217827664" sldId="1891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2188383503" sldId="1894"/>
        </pc:sldMkLst>
      </pc:sldChg>
      <pc:sldChg chg="delSp modSp mod modNotesTx">
        <pc:chgData name="Vikesh Chugani" userId="9c759398cfaae00f" providerId="LiveId" clId="{93B14FD8-A78B-41AE-80C9-362F1C9C9C40}" dt="2025-08-21T10:46:11.304" v="2446" actId="20577"/>
        <pc:sldMkLst>
          <pc:docMk/>
          <pc:sldMk cId="3582559601" sldId="1914"/>
        </pc:sldMkLst>
        <pc:spChg chg="mod">
          <ac:chgData name="Vikesh Chugani" userId="9c759398cfaae00f" providerId="LiveId" clId="{93B14FD8-A78B-41AE-80C9-362F1C9C9C40}" dt="2025-08-20T15:13:53.338" v="123" actId="20577"/>
          <ac:spMkLst>
            <pc:docMk/>
            <pc:sldMk cId="3582559601" sldId="1914"/>
            <ac:spMk id="3" creationId="{00000000-0000-0000-0000-000000000000}"/>
          </ac:spMkLst>
        </pc:spChg>
        <pc:spChg chg="mod">
          <ac:chgData name="Vikesh Chugani" userId="9c759398cfaae00f" providerId="LiveId" clId="{93B14FD8-A78B-41AE-80C9-362F1C9C9C40}" dt="2025-08-21T10:46:11.304" v="2446" actId="20577"/>
          <ac:spMkLst>
            <pc:docMk/>
            <pc:sldMk cId="3582559601" sldId="1914"/>
            <ac:spMk id="4" creationId="{00000000-0000-0000-0000-000000000000}"/>
          </ac:spMkLst>
        </pc:spChg>
        <pc:spChg chg="mod">
          <ac:chgData name="Vikesh Chugani" userId="9c759398cfaae00f" providerId="LiveId" clId="{93B14FD8-A78B-41AE-80C9-362F1C9C9C40}" dt="2025-08-20T15:12:11.600" v="38" actId="20577"/>
          <ac:spMkLst>
            <pc:docMk/>
            <pc:sldMk cId="3582559601" sldId="1914"/>
            <ac:spMk id="7" creationId="{AF1D6D72-CCF1-B9CD-2609-538EEA5E448F}"/>
          </ac:spMkLst>
        </pc:spChg>
        <pc:spChg chg="mod">
          <ac:chgData name="Vikesh Chugani" userId="9c759398cfaae00f" providerId="LiveId" clId="{93B14FD8-A78B-41AE-80C9-362F1C9C9C40}" dt="2025-08-20T15:13:32.386" v="118" actId="20577"/>
          <ac:spMkLst>
            <pc:docMk/>
            <pc:sldMk cId="3582559601" sldId="1914"/>
            <ac:spMk id="35" creationId="{AE0E9783-D7DC-7A58-2939-E293B21ABA31}"/>
          </ac:spMkLst>
        </pc:spChg>
        <pc:spChg chg="mod">
          <ac:chgData name="Vikesh Chugani" userId="9c759398cfaae00f" providerId="LiveId" clId="{93B14FD8-A78B-41AE-80C9-362F1C9C9C40}" dt="2025-08-20T15:13:24.828" v="115" actId="20577"/>
          <ac:spMkLst>
            <pc:docMk/>
            <pc:sldMk cId="3582559601" sldId="1914"/>
            <ac:spMk id="36" creationId="{0C588386-2350-F80B-959F-C54AABB464F4}"/>
          </ac:spMkLst>
        </pc:spChg>
        <pc:spChg chg="mod">
          <ac:chgData name="Vikesh Chugani" userId="9c759398cfaae00f" providerId="LiveId" clId="{93B14FD8-A78B-41AE-80C9-362F1C9C9C40}" dt="2025-08-20T15:12:37.308" v="63" actId="20577"/>
          <ac:spMkLst>
            <pc:docMk/>
            <pc:sldMk cId="3582559601" sldId="1914"/>
            <ac:spMk id="37" creationId="{53862FA2-5D99-7D85-D0F5-8ECF123169EC}"/>
          </ac:spMkLst>
        </pc:spChg>
        <pc:spChg chg="mod">
          <ac:chgData name="Vikesh Chugani" userId="9c759398cfaae00f" providerId="LiveId" clId="{93B14FD8-A78B-41AE-80C9-362F1C9C9C40}" dt="2025-08-20T15:12:45.859" v="67" actId="20577"/>
          <ac:spMkLst>
            <pc:docMk/>
            <pc:sldMk cId="3582559601" sldId="1914"/>
            <ac:spMk id="38" creationId="{209D493C-F55D-2DEC-33BA-B29D3B333932}"/>
          </ac:spMkLst>
        </pc:spChg>
        <pc:spChg chg="mod">
          <ac:chgData name="Vikesh Chugani" userId="9c759398cfaae00f" providerId="LiveId" clId="{93B14FD8-A78B-41AE-80C9-362F1C9C9C40}" dt="2025-08-20T15:12:56.257" v="83" actId="20577"/>
          <ac:spMkLst>
            <pc:docMk/>
            <pc:sldMk cId="3582559601" sldId="1914"/>
            <ac:spMk id="186" creationId="{9482A306-6EEE-7CA4-9F75-9FF400D10164}"/>
          </ac:spMkLst>
        </pc:spChg>
        <pc:spChg chg="mod">
          <ac:chgData name="Vikesh Chugani" userId="9c759398cfaae00f" providerId="LiveId" clId="{93B14FD8-A78B-41AE-80C9-362F1C9C9C40}" dt="2025-08-20T15:12:50.790" v="81" actId="20577"/>
          <ac:spMkLst>
            <pc:docMk/>
            <pc:sldMk cId="3582559601" sldId="1914"/>
            <ac:spMk id="187" creationId="{D8151708-CE93-46EB-8F13-A37F19A4F152}"/>
          </ac:spMkLst>
        </pc:spChg>
        <pc:spChg chg="mod">
          <ac:chgData name="Vikesh Chugani" userId="9c759398cfaae00f" providerId="LiveId" clId="{93B14FD8-A78B-41AE-80C9-362F1C9C9C40}" dt="2025-08-20T15:12:31.662" v="61" actId="20577"/>
          <ac:spMkLst>
            <pc:docMk/>
            <pc:sldMk cId="3582559601" sldId="1914"/>
            <ac:spMk id="188" creationId="{D991BFD1-38B5-F0C4-FB5A-EDF9E0548F3C}"/>
          </ac:spMkLst>
        </pc:spChg>
        <pc:spChg chg="mod">
          <ac:chgData name="Vikesh Chugani" userId="9c759398cfaae00f" providerId="LiveId" clId="{93B14FD8-A78B-41AE-80C9-362F1C9C9C40}" dt="2025-08-20T15:12:42.077" v="65" actId="20577"/>
          <ac:spMkLst>
            <pc:docMk/>
            <pc:sldMk cId="3582559601" sldId="1914"/>
            <ac:spMk id="189" creationId="{4F4492AA-2755-9802-4F8E-466AC053F823}"/>
          </ac:spMkLst>
        </pc:spChg>
        <pc:spChg chg="mod">
          <ac:chgData name="Vikesh Chugani" userId="9c759398cfaae00f" providerId="LiveId" clId="{93B14FD8-A78B-41AE-80C9-362F1C9C9C40}" dt="2025-08-20T15:13:20.421" v="113" actId="20577"/>
          <ac:spMkLst>
            <pc:docMk/>
            <pc:sldMk cId="3582559601" sldId="1914"/>
            <ac:spMk id="206" creationId="{0E7D30A5-EC3C-16D3-B372-373404C91098}"/>
          </ac:spMkLst>
        </pc:spChg>
        <pc:spChg chg="mod">
          <ac:chgData name="Vikesh Chugani" userId="9c759398cfaae00f" providerId="LiveId" clId="{93B14FD8-A78B-41AE-80C9-362F1C9C9C40}" dt="2025-08-20T15:13:01.011" v="85" actId="20577"/>
          <ac:spMkLst>
            <pc:docMk/>
            <pc:sldMk cId="3582559601" sldId="1914"/>
            <ac:spMk id="208" creationId="{C282A11E-C4B0-C399-E924-A0C7D85D6623}"/>
          </ac:spMkLst>
        </pc:spChg>
        <pc:spChg chg="mod">
          <ac:chgData name="Vikesh Chugani" userId="9c759398cfaae00f" providerId="LiveId" clId="{93B14FD8-A78B-41AE-80C9-362F1C9C9C40}" dt="2025-08-20T15:13:05.062" v="87" actId="20577"/>
          <ac:spMkLst>
            <pc:docMk/>
            <pc:sldMk cId="3582559601" sldId="1914"/>
            <ac:spMk id="217" creationId="{86EF35B1-CDE2-679D-1DC5-4B8F69033414}"/>
          </ac:spMkLst>
        </pc:spChg>
        <pc:spChg chg="mod">
          <ac:chgData name="Vikesh Chugani" userId="9c759398cfaae00f" providerId="LiveId" clId="{93B14FD8-A78B-41AE-80C9-362F1C9C9C40}" dt="2025-08-20T15:13:35.324" v="120" actId="20577"/>
          <ac:spMkLst>
            <pc:docMk/>
            <pc:sldMk cId="3582559601" sldId="1914"/>
            <ac:spMk id="226" creationId="{76991C3F-6F36-9093-678F-2F6BFA2BD8F5}"/>
          </ac:spMkLst>
        </pc:spChg>
        <pc:picChg chg="del">
          <ac:chgData name="Vikesh Chugani" userId="9c759398cfaae00f" providerId="LiveId" clId="{93B14FD8-A78B-41AE-80C9-362F1C9C9C40}" dt="2025-08-20T15:12:22.476" v="39" actId="478"/>
          <ac:picMkLst>
            <pc:docMk/>
            <pc:sldMk cId="3582559601" sldId="1914"/>
            <ac:picMk id="5" creationId="{DBDA1202-B5EC-7F22-393E-45C000DF5CF7}"/>
          </ac:picMkLst>
        </pc:picChg>
        <pc:picChg chg="del">
          <ac:chgData name="Vikesh Chugani" userId="9c759398cfaae00f" providerId="LiveId" clId="{93B14FD8-A78B-41AE-80C9-362F1C9C9C40}" dt="2025-08-20T15:13:06.406" v="88" actId="478"/>
          <ac:picMkLst>
            <pc:docMk/>
            <pc:sldMk cId="3582559601" sldId="1914"/>
            <ac:picMk id="6" creationId="{EDFFC895-77DE-FAF3-D046-281291E59849}"/>
          </ac:picMkLst>
        </pc:picChg>
        <pc:picChg chg="del">
          <ac:chgData name="Vikesh Chugani" userId="9c759398cfaae00f" providerId="LiveId" clId="{93B14FD8-A78B-41AE-80C9-362F1C9C9C40}" dt="2025-08-20T15:13:06.964" v="89" actId="478"/>
          <ac:picMkLst>
            <pc:docMk/>
            <pc:sldMk cId="3582559601" sldId="1914"/>
            <ac:picMk id="8" creationId="{4068A274-8806-B34A-5424-0B0CD9EE5F3E}"/>
          </ac:picMkLst>
        </pc:picChg>
        <pc:picChg chg="del">
          <ac:chgData name="Vikesh Chugani" userId="9c759398cfaae00f" providerId="LiveId" clId="{93B14FD8-A78B-41AE-80C9-362F1C9C9C40}" dt="2025-08-20T15:13:07.486" v="90" actId="478"/>
          <ac:picMkLst>
            <pc:docMk/>
            <pc:sldMk cId="3582559601" sldId="1914"/>
            <ac:picMk id="9" creationId="{9C48D8AA-A184-0FAF-5266-6DEA22D450F6}"/>
          </ac:picMkLst>
        </pc:picChg>
        <pc:picChg chg="del">
          <ac:chgData name="Vikesh Chugani" userId="9c759398cfaae00f" providerId="LiveId" clId="{93B14FD8-A78B-41AE-80C9-362F1C9C9C40}" dt="2025-08-20T15:13:08.105" v="91" actId="478"/>
          <ac:picMkLst>
            <pc:docMk/>
            <pc:sldMk cId="3582559601" sldId="1914"/>
            <ac:picMk id="10" creationId="{171A2FAD-1FA3-434B-2D54-73083ABF7D66}"/>
          </ac:picMkLst>
        </pc:picChg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3922770403" sldId="1916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4136258358" sldId="1924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1592583382" sldId="2023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4066991060" sldId="2108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4186019051" sldId="2199"/>
        </pc:sldMkLst>
      </pc:sldChg>
      <pc:sldChg chg="addSp delSp modSp add del mod modNotesTx">
        <pc:chgData name="Vikesh Chugani" userId="9c759398cfaae00f" providerId="LiveId" clId="{93B14FD8-A78B-41AE-80C9-362F1C9C9C40}" dt="2025-08-21T10:54:06.079" v="2466" actId="47"/>
        <pc:sldMkLst>
          <pc:docMk/>
          <pc:sldMk cId="3332988729" sldId="2203"/>
        </pc:sldMkLst>
        <pc:spChg chg="mod">
          <ac:chgData name="Vikesh Chugani" userId="9c759398cfaae00f" providerId="LiveId" clId="{93B14FD8-A78B-41AE-80C9-362F1C9C9C40}" dt="2025-08-20T15:22:44.569" v="2303"/>
          <ac:spMkLst>
            <pc:docMk/>
            <pc:sldMk cId="3332988729" sldId="2203"/>
            <ac:spMk id="2" creationId="{950C5A6C-709E-FBC5-6E11-EEC05EDCCD75}"/>
          </ac:spMkLst>
        </pc:spChg>
        <pc:spChg chg="mod">
          <ac:chgData name="Vikesh Chugani" userId="9c759398cfaae00f" providerId="LiveId" clId="{93B14FD8-A78B-41AE-80C9-362F1C9C9C40}" dt="2025-08-20T15:21:07.750" v="1529" actId="948"/>
          <ac:spMkLst>
            <pc:docMk/>
            <pc:sldMk cId="3332988729" sldId="2203"/>
            <ac:spMk id="3" creationId="{3B6723FA-F09B-5C65-1F72-34BAF7FE96E9}"/>
          </ac:spMkLst>
        </pc:spChg>
        <pc:spChg chg="add del mod modVis">
          <ac:chgData name="Vikesh Chugani" userId="9c759398cfaae00f" providerId="LiveId" clId="{93B14FD8-A78B-41AE-80C9-362F1C9C9C40}" dt="2025-08-20T15:21:07.777" v="1551"/>
          <ac:spMkLst>
            <pc:docMk/>
            <pc:sldMk cId="3332988729" sldId="2203"/>
            <ac:spMk id="5" creationId="{8DEE4935-FF7E-A53F-1AC8-1ABFEF814F0E}"/>
          </ac:spMkLst>
        </pc:spChg>
        <pc:spChg chg="mod">
          <ac:chgData name="Vikesh Chugani" userId="9c759398cfaae00f" providerId="LiveId" clId="{93B14FD8-A78B-41AE-80C9-362F1C9C9C40}" dt="2025-08-20T15:21:07.124" v="1517" actId="947"/>
          <ac:spMkLst>
            <pc:docMk/>
            <pc:sldMk cId="3332988729" sldId="2203"/>
            <ac:spMk id="8" creationId="{D574C8C9-E5E7-9813-1769-1859D78B48D1}"/>
          </ac:spMkLst>
        </pc:spChg>
        <pc:spChg chg="mod">
          <ac:chgData name="Vikesh Chugani" userId="9c759398cfaae00f" providerId="LiveId" clId="{93B14FD8-A78B-41AE-80C9-362F1C9C9C40}" dt="2025-08-20T15:21:07.141" v="1528" actId="790"/>
          <ac:spMkLst>
            <pc:docMk/>
            <pc:sldMk cId="3332988729" sldId="2203"/>
            <ac:spMk id="45" creationId="{799AC1B5-11D3-B785-8AD5-2941C2E778F8}"/>
          </ac:spMkLst>
        </pc:spChg>
        <pc:spChg chg="mod">
          <ac:chgData name="Vikesh Chugani" userId="9c759398cfaae00f" providerId="LiveId" clId="{93B14FD8-A78B-41AE-80C9-362F1C9C9C40}" dt="2025-08-20T15:21:07.141" v="1528" actId="790"/>
          <ac:spMkLst>
            <pc:docMk/>
            <pc:sldMk cId="3332988729" sldId="2203"/>
            <ac:spMk id="46" creationId="{EC284D7A-17E2-5A8B-D6AA-141B31EBE6F3}"/>
          </ac:spMkLst>
        </pc:spChg>
        <pc:spChg chg="mod">
          <ac:chgData name="Vikesh Chugani" userId="9c759398cfaae00f" providerId="LiveId" clId="{93B14FD8-A78B-41AE-80C9-362F1C9C9C40}" dt="2025-08-20T15:21:07.141" v="1528" actId="790"/>
          <ac:spMkLst>
            <pc:docMk/>
            <pc:sldMk cId="3332988729" sldId="2203"/>
            <ac:spMk id="49" creationId="{C2B42ABF-5899-0F2D-E1C4-BB3DE233BB10}"/>
          </ac:spMkLst>
        </pc:spChg>
        <pc:spChg chg="mod">
          <ac:chgData name="Vikesh Chugani" userId="9c759398cfaae00f" providerId="LiveId" clId="{93B14FD8-A78B-41AE-80C9-362F1C9C9C40}" dt="2025-08-20T15:21:07.141" v="1528" actId="790"/>
          <ac:spMkLst>
            <pc:docMk/>
            <pc:sldMk cId="3332988729" sldId="2203"/>
            <ac:spMk id="50" creationId="{4BE76708-9470-C2B2-1B21-A3F25FFD1A3F}"/>
          </ac:spMkLst>
        </pc:spChg>
        <pc:spChg chg="mod">
          <ac:chgData name="Vikesh Chugani" userId="9c759398cfaae00f" providerId="LiveId" clId="{93B14FD8-A78B-41AE-80C9-362F1C9C9C40}" dt="2025-08-20T15:21:07.141" v="1528" actId="790"/>
          <ac:spMkLst>
            <pc:docMk/>
            <pc:sldMk cId="3332988729" sldId="2203"/>
            <ac:spMk id="54" creationId="{27E31D95-1FB5-314F-D435-9DF0F8A23151}"/>
          </ac:spMkLst>
        </pc:spChg>
        <pc:spChg chg="mod">
          <ac:chgData name="Vikesh Chugani" userId="9c759398cfaae00f" providerId="LiveId" clId="{93B14FD8-A78B-41AE-80C9-362F1C9C9C40}" dt="2025-08-20T15:21:07.141" v="1528" actId="790"/>
          <ac:spMkLst>
            <pc:docMk/>
            <pc:sldMk cId="3332988729" sldId="2203"/>
            <ac:spMk id="55" creationId="{2385C7F5-22D6-47E4-B3C4-8887D8841F86}"/>
          </ac:spMkLst>
        </pc:spChg>
        <pc:spChg chg="mod">
          <ac:chgData name="Vikesh Chugani" userId="9c759398cfaae00f" providerId="LiveId" clId="{93B14FD8-A78B-41AE-80C9-362F1C9C9C40}" dt="2025-08-20T15:21:07.141" v="1528" actId="790"/>
          <ac:spMkLst>
            <pc:docMk/>
            <pc:sldMk cId="3332988729" sldId="2203"/>
            <ac:spMk id="58" creationId="{8E3A2BF1-6119-76A0-09C7-65122E010BB8}"/>
          </ac:spMkLst>
        </pc:spChg>
        <pc:spChg chg="mod">
          <ac:chgData name="Vikesh Chugani" userId="9c759398cfaae00f" providerId="LiveId" clId="{93B14FD8-A78B-41AE-80C9-362F1C9C9C40}" dt="2025-08-20T15:21:07.096" v="1509" actId="947"/>
          <ac:spMkLst>
            <pc:docMk/>
            <pc:sldMk cId="3332988729" sldId="2203"/>
            <ac:spMk id="59" creationId="{7C47E2A3-AA78-9B29-9673-C316988E9A66}"/>
          </ac:spMkLst>
        </pc:spChg>
        <pc:spChg chg="mod">
          <ac:chgData name="Vikesh Chugani" userId="9c759398cfaae00f" providerId="LiveId" clId="{93B14FD8-A78B-41AE-80C9-362F1C9C9C40}" dt="2025-08-20T15:21:07.087" v="1505" actId="947"/>
          <ac:spMkLst>
            <pc:docMk/>
            <pc:sldMk cId="3332988729" sldId="2203"/>
            <ac:spMk id="62" creationId="{709EAF67-D945-3B2F-452F-BA5C748B514C}"/>
          </ac:spMkLst>
        </pc:spChg>
        <pc:spChg chg="mod">
          <ac:chgData name="Vikesh Chugani" userId="9c759398cfaae00f" providerId="LiveId" clId="{93B14FD8-A78B-41AE-80C9-362F1C9C9C40}" dt="2025-08-20T15:21:07.082" v="1501" actId="947"/>
          <ac:spMkLst>
            <pc:docMk/>
            <pc:sldMk cId="3332988729" sldId="2203"/>
            <ac:spMk id="63" creationId="{34A71CA8-3219-BA92-DECF-20ECDC1A1B4A}"/>
          </ac:spMkLst>
        </pc:spChg>
        <pc:spChg chg="mod">
          <ac:chgData name="Vikesh Chugani" userId="9c759398cfaae00f" providerId="LiveId" clId="{93B14FD8-A78B-41AE-80C9-362F1C9C9C40}" dt="2025-08-20T15:21:07.141" v="1528" actId="790"/>
          <ac:spMkLst>
            <pc:docMk/>
            <pc:sldMk cId="3332988729" sldId="2203"/>
            <ac:spMk id="74" creationId="{E306FC7A-E6DB-4607-5A1B-CA04C62043E2}"/>
          </ac:spMkLst>
        </pc:spChg>
        <pc:spChg chg="mod">
          <ac:chgData name="Vikesh Chugani" userId="9c759398cfaae00f" providerId="LiveId" clId="{93B14FD8-A78B-41AE-80C9-362F1C9C9C40}" dt="2025-08-20T15:21:07.092" v="1507" actId="947"/>
          <ac:spMkLst>
            <pc:docMk/>
            <pc:sldMk cId="3332988729" sldId="2203"/>
            <ac:spMk id="78" creationId="{693FA005-2AE5-D4E6-7601-39F7EBFEE7E3}"/>
          </ac:spMkLst>
        </pc:spChg>
        <pc:spChg chg="mod">
          <ac:chgData name="Vikesh Chugani" userId="9c759398cfaae00f" providerId="LiveId" clId="{93B14FD8-A78B-41AE-80C9-362F1C9C9C40}" dt="2025-08-20T15:21:07.141" v="1528" actId="790"/>
          <ac:spMkLst>
            <pc:docMk/>
            <pc:sldMk cId="3332988729" sldId="2203"/>
            <ac:spMk id="80" creationId="{772BB5D2-738B-633F-D008-4F3B8D210209}"/>
          </ac:spMkLst>
        </pc:spChg>
        <pc:spChg chg="mod">
          <ac:chgData name="Vikesh Chugani" userId="9c759398cfaae00f" providerId="LiveId" clId="{93B14FD8-A78B-41AE-80C9-362F1C9C9C40}" dt="2025-08-20T15:21:07.111" v="1515" actId="947"/>
          <ac:spMkLst>
            <pc:docMk/>
            <pc:sldMk cId="3332988729" sldId="2203"/>
            <ac:spMk id="92" creationId="{BDAD8FC5-111A-0A53-2D23-57CDE746AAE0}"/>
          </ac:spMkLst>
        </pc:spChg>
        <pc:graphicFrameChg chg="mod">
          <ac:chgData name="Vikesh Chugani" userId="9c759398cfaae00f" providerId="LiveId" clId="{93B14FD8-A78B-41AE-80C9-362F1C9C9C40}" dt="2025-08-20T15:21:07.778" v="1553"/>
          <ac:graphicFrameMkLst>
            <pc:docMk/>
            <pc:sldMk cId="3332988729" sldId="2203"/>
            <ac:graphicFrameMk id="4" creationId="{13957B04-D5A6-D67F-DF92-15E1E096F126}"/>
          </ac:graphicFrameMkLst>
        </pc:graphicFrameChg>
      </pc:sldChg>
      <pc:sldChg chg="addSp delSp modSp new mod ord">
        <pc:chgData name="Vikesh Chugani" userId="9c759398cfaae00f" providerId="LiveId" clId="{93B14FD8-A78B-41AE-80C9-362F1C9C9C40}" dt="2025-08-20T15:56:43.701" v="2432"/>
        <pc:sldMkLst>
          <pc:docMk/>
          <pc:sldMk cId="430953551" sldId="2204"/>
        </pc:sldMkLst>
        <pc:spChg chg="mod">
          <ac:chgData name="Vikesh Chugani" userId="9c759398cfaae00f" providerId="LiveId" clId="{93B14FD8-A78B-41AE-80C9-362F1C9C9C40}" dt="2025-08-20T15:20:43.823" v="1457" actId="108"/>
          <ac:spMkLst>
            <pc:docMk/>
            <pc:sldMk cId="430953551" sldId="2204"/>
            <ac:spMk id="2" creationId="{8593739A-2CC5-EC5A-476B-6FB621BA39CE}"/>
          </ac:spMkLst>
        </pc:spChg>
        <pc:spChg chg="mod">
          <ac:chgData name="Vikesh Chugani" userId="9c759398cfaae00f" providerId="LiveId" clId="{93B14FD8-A78B-41AE-80C9-362F1C9C9C40}" dt="2025-08-20T15:56:43.680" v="2408" actId="948"/>
          <ac:spMkLst>
            <pc:docMk/>
            <pc:sldMk cId="430953551" sldId="2204"/>
            <ac:spMk id="3" creationId="{FA0018E0-5C5D-39C0-45D1-D9E8C4996BB6}"/>
          </ac:spMkLst>
        </pc:spChg>
        <pc:spChg chg="add del mod modVis">
          <ac:chgData name="Vikesh Chugani" userId="9c759398cfaae00f" providerId="LiveId" clId="{93B14FD8-A78B-41AE-80C9-362F1C9C9C40}" dt="2025-08-20T15:56:42.215" v="2404"/>
          <ac:spMkLst>
            <pc:docMk/>
            <pc:sldMk cId="430953551" sldId="2204"/>
            <ac:spMk id="4" creationId="{16DF0DFC-1953-924F-3523-83DF478DC898}"/>
          </ac:spMkLst>
        </pc:spChg>
        <pc:spChg chg="add del mod modVis">
          <ac:chgData name="Vikesh Chugani" userId="9c759398cfaae00f" providerId="LiveId" clId="{93B14FD8-A78B-41AE-80C9-362F1C9C9C40}" dt="2025-08-20T15:15:32.628" v="148"/>
          <ac:spMkLst>
            <pc:docMk/>
            <pc:sldMk cId="430953551" sldId="2204"/>
            <ac:spMk id="4" creationId="{D43D6731-11D1-AF33-5670-16E15DD335B2}"/>
          </ac:spMkLst>
        </pc:spChg>
        <pc:spChg chg="add del mod modVis">
          <ac:chgData name="Vikesh Chugani" userId="9c759398cfaae00f" providerId="LiveId" clId="{93B14FD8-A78B-41AE-80C9-362F1C9C9C40}" dt="2025-08-20T15:15:39.435" v="186"/>
          <ac:spMkLst>
            <pc:docMk/>
            <pc:sldMk cId="430953551" sldId="2204"/>
            <ac:spMk id="6" creationId="{67D8C186-1467-15B0-7F1F-7C1D80E21AD4}"/>
          </ac:spMkLst>
        </pc:spChg>
        <pc:spChg chg="add del mod modVis">
          <ac:chgData name="Vikesh Chugani" userId="9c759398cfaae00f" providerId="LiveId" clId="{93B14FD8-A78B-41AE-80C9-362F1C9C9C40}" dt="2025-08-20T15:56:43.700" v="2430"/>
          <ac:spMkLst>
            <pc:docMk/>
            <pc:sldMk cId="430953551" sldId="2204"/>
            <ac:spMk id="6" creationId="{771AC111-9020-DFE5-6DFF-E88472522E72}"/>
          </ac:spMkLst>
        </pc:spChg>
        <pc:spChg chg="add del mod modVis">
          <ac:chgData name="Vikesh Chugani" userId="9c759398cfaae00f" providerId="LiveId" clId="{93B14FD8-A78B-41AE-80C9-362F1C9C9C40}" dt="2025-08-20T15:17:27.973" v="333"/>
          <ac:spMkLst>
            <pc:docMk/>
            <pc:sldMk cId="430953551" sldId="2204"/>
            <ac:spMk id="7" creationId="{760D02B1-FC4C-13C9-B035-4F287C25E39A}"/>
          </ac:spMkLst>
        </pc:spChg>
        <pc:spChg chg="add del mod modVis">
          <ac:chgData name="Vikesh Chugani" userId="9c759398cfaae00f" providerId="LiveId" clId="{93B14FD8-A78B-41AE-80C9-362F1C9C9C40}" dt="2025-08-20T15:21:14.145" v="1577"/>
          <ac:spMkLst>
            <pc:docMk/>
            <pc:sldMk cId="430953551" sldId="2204"/>
            <ac:spMk id="8" creationId="{3D3522B2-655F-F083-BA61-CF95AC3D9D5D}"/>
          </ac:spMkLst>
        </pc:spChg>
        <pc:spChg chg="add del mod modVis">
          <ac:chgData name="Vikesh Chugani" userId="9c759398cfaae00f" providerId="LiveId" clId="{93B14FD8-A78B-41AE-80C9-362F1C9C9C40}" dt="2025-08-20T15:21:23.343" v="1623"/>
          <ac:spMkLst>
            <pc:docMk/>
            <pc:sldMk cId="430953551" sldId="2204"/>
            <ac:spMk id="9" creationId="{F04F692D-BB5A-D645-371C-38830627455A}"/>
          </ac:spMkLst>
        </pc:spChg>
        <pc:spChg chg="add del mod modVis">
          <ac:chgData name="Vikesh Chugani" userId="9c759398cfaae00f" providerId="LiveId" clId="{93B14FD8-A78B-41AE-80C9-362F1C9C9C40}" dt="2025-08-20T15:21:23.824" v="1650"/>
          <ac:spMkLst>
            <pc:docMk/>
            <pc:sldMk cId="430953551" sldId="2204"/>
            <ac:spMk id="10" creationId="{E88AA2B3-003D-E1EB-5D68-24B2066418E2}"/>
          </ac:spMkLst>
        </pc:spChg>
        <pc:spChg chg="add del mod modVis">
          <ac:chgData name="Vikesh Chugani" userId="9c759398cfaae00f" providerId="LiveId" clId="{93B14FD8-A78B-41AE-80C9-362F1C9C9C40}" dt="2025-08-20T15:21:24.982" v="1679"/>
          <ac:spMkLst>
            <pc:docMk/>
            <pc:sldMk cId="430953551" sldId="2204"/>
            <ac:spMk id="11" creationId="{ADE2E24A-A1CC-D7B0-37D9-E92A73976A24}"/>
          </ac:spMkLst>
        </pc:spChg>
        <pc:spChg chg="add del mod modVis">
          <ac:chgData name="Vikesh Chugani" userId="9c759398cfaae00f" providerId="LiveId" clId="{93B14FD8-A78B-41AE-80C9-362F1C9C9C40}" dt="2025-08-20T15:21:27.968" v="1713"/>
          <ac:spMkLst>
            <pc:docMk/>
            <pc:sldMk cId="430953551" sldId="2204"/>
            <ac:spMk id="12" creationId="{076D8077-BD08-A286-A18A-58656619C140}"/>
          </ac:spMkLst>
        </pc:spChg>
        <pc:spChg chg="add del mod modVis">
          <ac:chgData name="Vikesh Chugani" userId="9c759398cfaae00f" providerId="LiveId" clId="{93B14FD8-A78B-41AE-80C9-362F1C9C9C40}" dt="2025-08-20T15:21:28.816" v="1740"/>
          <ac:spMkLst>
            <pc:docMk/>
            <pc:sldMk cId="430953551" sldId="2204"/>
            <ac:spMk id="13" creationId="{B18019E5-F775-9B15-39F5-277C47420B17}"/>
          </ac:spMkLst>
        </pc:spChg>
        <pc:spChg chg="add del mod modVis">
          <ac:chgData name="Vikesh Chugani" userId="9c759398cfaae00f" providerId="LiveId" clId="{93B14FD8-A78B-41AE-80C9-362F1C9C9C40}" dt="2025-08-20T15:21:31.266" v="1776"/>
          <ac:spMkLst>
            <pc:docMk/>
            <pc:sldMk cId="430953551" sldId="2204"/>
            <ac:spMk id="14" creationId="{FF19681C-4FE7-27D1-0170-560D5A228E81}"/>
          </ac:spMkLst>
        </pc:spChg>
        <pc:spChg chg="add del mod modVis">
          <ac:chgData name="Vikesh Chugani" userId="9c759398cfaae00f" providerId="LiveId" clId="{93B14FD8-A78B-41AE-80C9-362F1C9C9C40}" dt="2025-08-20T15:21:35.281" v="1806"/>
          <ac:spMkLst>
            <pc:docMk/>
            <pc:sldMk cId="430953551" sldId="2204"/>
            <ac:spMk id="15" creationId="{DB6A20FB-13D1-B314-6C64-C114D1AD402B}"/>
          </ac:spMkLst>
        </pc:spChg>
        <pc:spChg chg="add del mod modVis">
          <ac:chgData name="Vikesh Chugani" userId="9c759398cfaae00f" providerId="LiveId" clId="{93B14FD8-A78B-41AE-80C9-362F1C9C9C40}" dt="2025-08-20T15:21:36.296" v="1834"/>
          <ac:spMkLst>
            <pc:docMk/>
            <pc:sldMk cId="430953551" sldId="2204"/>
            <ac:spMk id="16" creationId="{F75F1C7D-9EBE-6E9D-9BE3-9B15AFA72EA9}"/>
          </ac:spMkLst>
        </pc:spChg>
        <pc:spChg chg="add del mod modVis">
          <ac:chgData name="Vikesh Chugani" userId="9c759398cfaae00f" providerId="LiveId" clId="{93B14FD8-A78B-41AE-80C9-362F1C9C9C40}" dt="2025-08-20T15:21:37.611" v="1863"/>
          <ac:spMkLst>
            <pc:docMk/>
            <pc:sldMk cId="430953551" sldId="2204"/>
            <ac:spMk id="17" creationId="{A30AACDF-777A-83CD-840F-E92AC693143C}"/>
          </ac:spMkLst>
        </pc:spChg>
        <pc:spChg chg="add del mod modVis">
          <ac:chgData name="Vikesh Chugani" userId="9c759398cfaae00f" providerId="LiveId" clId="{93B14FD8-A78B-41AE-80C9-362F1C9C9C40}" dt="2025-08-20T15:21:41.502" v="1903"/>
          <ac:spMkLst>
            <pc:docMk/>
            <pc:sldMk cId="430953551" sldId="2204"/>
            <ac:spMk id="18" creationId="{51BDCC4D-0926-04D7-2DBD-7F85FF03528F}"/>
          </ac:spMkLst>
        </pc:spChg>
        <pc:spChg chg="add del mod modVis">
          <ac:chgData name="Vikesh Chugani" userId="9c759398cfaae00f" providerId="LiveId" clId="{93B14FD8-A78B-41AE-80C9-362F1C9C9C40}" dt="2025-08-20T15:21:44.160" v="1939"/>
          <ac:spMkLst>
            <pc:docMk/>
            <pc:sldMk cId="430953551" sldId="2204"/>
            <ac:spMk id="19" creationId="{EA17A3DE-EDF8-C9ED-31BD-AA6CC67D9A82}"/>
          </ac:spMkLst>
        </pc:spChg>
        <pc:spChg chg="add del mod modVis">
          <ac:chgData name="Vikesh Chugani" userId="9c759398cfaae00f" providerId="LiveId" clId="{93B14FD8-A78B-41AE-80C9-362F1C9C9C40}" dt="2025-08-20T15:21:46.200" v="1972"/>
          <ac:spMkLst>
            <pc:docMk/>
            <pc:sldMk cId="430953551" sldId="2204"/>
            <ac:spMk id="20" creationId="{FD2F48F4-1626-2E3D-AA40-308EC25C0168}"/>
          </ac:spMkLst>
        </pc:spChg>
        <pc:spChg chg="add del mod modVis">
          <ac:chgData name="Vikesh Chugani" userId="9c759398cfaae00f" providerId="LiveId" clId="{93B14FD8-A78B-41AE-80C9-362F1C9C9C40}" dt="2025-08-20T15:21:49.780" v="2019"/>
          <ac:spMkLst>
            <pc:docMk/>
            <pc:sldMk cId="430953551" sldId="2204"/>
            <ac:spMk id="21" creationId="{A9BC926E-DA62-7324-6493-36875B9AB3F0}"/>
          </ac:spMkLst>
        </pc:spChg>
        <pc:spChg chg="add del mod modVis">
          <ac:chgData name="Vikesh Chugani" userId="9c759398cfaae00f" providerId="LiveId" clId="{93B14FD8-A78B-41AE-80C9-362F1C9C9C40}" dt="2025-08-20T15:21:50.729" v="2049"/>
          <ac:spMkLst>
            <pc:docMk/>
            <pc:sldMk cId="430953551" sldId="2204"/>
            <ac:spMk id="22" creationId="{F95B32D6-0FDF-5BCC-EE2F-FE0CBFAB6183}"/>
          </ac:spMkLst>
        </pc:spChg>
        <pc:spChg chg="add del mod modVis">
          <ac:chgData name="Vikesh Chugani" userId="9c759398cfaae00f" providerId="LiveId" clId="{93B14FD8-A78B-41AE-80C9-362F1C9C9C40}" dt="2025-08-20T15:21:53.948" v="2086"/>
          <ac:spMkLst>
            <pc:docMk/>
            <pc:sldMk cId="430953551" sldId="2204"/>
            <ac:spMk id="23" creationId="{95103758-7C1A-E328-56CB-45BB3FAFAC3B}"/>
          </ac:spMkLst>
        </pc:spChg>
        <pc:spChg chg="add del mod modVis">
          <ac:chgData name="Vikesh Chugani" userId="9c759398cfaae00f" providerId="LiveId" clId="{93B14FD8-A78B-41AE-80C9-362F1C9C9C40}" dt="2025-08-20T15:21:58.429" v="2114"/>
          <ac:spMkLst>
            <pc:docMk/>
            <pc:sldMk cId="430953551" sldId="2204"/>
            <ac:spMk id="24" creationId="{3998CFB6-476E-068A-469E-06B7337F75F0}"/>
          </ac:spMkLst>
        </pc:spChg>
        <pc:spChg chg="add del mod modVis">
          <ac:chgData name="Vikesh Chugani" userId="9c759398cfaae00f" providerId="LiveId" clId="{93B14FD8-A78B-41AE-80C9-362F1C9C9C40}" dt="2025-08-20T15:21:59.688" v="2140"/>
          <ac:spMkLst>
            <pc:docMk/>
            <pc:sldMk cId="430953551" sldId="2204"/>
            <ac:spMk id="25" creationId="{76479A79-EB6F-4FC2-3C99-8CAFE287CB43}"/>
          </ac:spMkLst>
        </pc:spChg>
        <pc:spChg chg="add del mod modVis">
          <ac:chgData name="Vikesh Chugani" userId="9c759398cfaae00f" providerId="LiveId" clId="{93B14FD8-A78B-41AE-80C9-362F1C9C9C40}" dt="2025-08-20T15:22:02.480" v="2173"/>
          <ac:spMkLst>
            <pc:docMk/>
            <pc:sldMk cId="430953551" sldId="2204"/>
            <ac:spMk id="26" creationId="{0C1217EF-4D58-FBB9-7D25-58A15789EFD2}"/>
          </ac:spMkLst>
        </pc:spChg>
        <pc:spChg chg="add del mod modVis">
          <ac:chgData name="Vikesh Chugani" userId="9c759398cfaae00f" providerId="LiveId" clId="{93B14FD8-A78B-41AE-80C9-362F1C9C9C40}" dt="2025-08-20T15:22:16.080" v="2204"/>
          <ac:spMkLst>
            <pc:docMk/>
            <pc:sldMk cId="430953551" sldId="2204"/>
            <ac:spMk id="27" creationId="{AD697211-EA36-3AED-43B6-31E8151D3118}"/>
          </ac:spMkLst>
        </pc:spChg>
        <pc:spChg chg="add del mod modVis">
          <ac:chgData name="Vikesh Chugani" userId="9c759398cfaae00f" providerId="LiveId" clId="{93B14FD8-A78B-41AE-80C9-362F1C9C9C40}" dt="2025-08-20T15:22:23.001" v="2241"/>
          <ac:spMkLst>
            <pc:docMk/>
            <pc:sldMk cId="430953551" sldId="2204"/>
            <ac:spMk id="28" creationId="{B8B97EF1-3B47-5766-49D1-4B78CE8111EA}"/>
          </ac:spMkLst>
        </pc:spChg>
        <pc:spChg chg="add del mod modVis">
          <ac:chgData name="Vikesh Chugani" userId="9c759398cfaae00f" providerId="LiveId" clId="{93B14FD8-A78B-41AE-80C9-362F1C9C9C40}" dt="2025-08-20T15:22:23.747" v="2267"/>
          <ac:spMkLst>
            <pc:docMk/>
            <pc:sldMk cId="430953551" sldId="2204"/>
            <ac:spMk id="29" creationId="{42C2D4DB-9C29-6FEA-6DBC-17D5436657FC}"/>
          </ac:spMkLst>
        </pc:spChg>
        <pc:spChg chg="add del mod modVis">
          <ac:chgData name="Vikesh Chugani" userId="9c759398cfaae00f" providerId="LiveId" clId="{93B14FD8-A78B-41AE-80C9-362F1C9C9C40}" dt="2025-08-20T15:22:25.869" v="2300"/>
          <ac:spMkLst>
            <pc:docMk/>
            <pc:sldMk cId="430953551" sldId="2204"/>
            <ac:spMk id="30" creationId="{366D0F64-2D41-8330-9172-20EE7F46E89C}"/>
          </ac:spMkLst>
        </pc:spChg>
        <pc:spChg chg="add del mod modVis">
          <ac:chgData name="Vikesh Chugani" userId="9c759398cfaae00f" providerId="LiveId" clId="{93B14FD8-A78B-41AE-80C9-362F1C9C9C40}" dt="2025-08-20T15:31:34.989" v="2329"/>
          <ac:spMkLst>
            <pc:docMk/>
            <pc:sldMk cId="430953551" sldId="2204"/>
            <ac:spMk id="31" creationId="{264D527E-6EBF-4D9E-B67D-C62E05FD3ABC}"/>
          </ac:spMkLst>
        </pc:spChg>
        <pc:spChg chg="add del mod">
          <ac:chgData name="Vikesh Chugani" userId="9c759398cfaae00f" providerId="LiveId" clId="{93B14FD8-A78B-41AE-80C9-362F1C9C9C40}" dt="2025-08-20T15:39:25.810" v="2361" actId="478"/>
          <ac:spMkLst>
            <pc:docMk/>
            <pc:sldMk cId="430953551" sldId="2204"/>
            <ac:spMk id="32" creationId="{AC7CD403-C2A1-33E1-67AE-51175A39A7E6}"/>
          </ac:spMkLst>
        </pc:spChg>
        <pc:spChg chg="add mod">
          <ac:chgData name="Vikesh Chugani" userId="9c759398cfaae00f" providerId="LiveId" clId="{93B14FD8-A78B-41AE-80C9-362F1C9C9C40}" dt="2025-08-20T15:39:35.986" v="2380" actId="114"/>
          <ac:spMkLst>
            <pc:docMk/>
            <pc:sldMk cId="430953551" sldId="2204"/>
            <ac:spMk id="33" creationId="{A71D9E4A-36F5-836F-281D-B31D5B6D6301}"/>
          </ac:spMkLst>
        </pc:spChg>
        <pc:graphicFrameChg chg="add mod ord modVis">
          <ac:chgData name="Vikesh Chugani" userId="9c759398cfaae00f" providerId="LiveId" clId="{93B14FD8-A78B-41AE-80C9-362F1C9C9C40}" dt="2025-08-20T15:56:43.701" v="2432"/>
          <ac:graphicFrameMkLst>
            <pc:docMk/>
            <pc:sldMk cId="430953551" sldId="2204"/>
            <ac:graphicFrameMk id="5" creationId="{5DF73FFD-6FA0-D898-9306-0B413EBD5210}"/>
          </ac:graphicFrameMkLst>
        </pc:graphicFrameChg>
      </pc:sldChg>
      <pc:sldChg chg="addSp delSp modSp add mod">
        <pc:chgData name="Vikesh Chugani" userId="9c759398cfaae00f" providerId="LiveId" clId="{93B14FD8-A78B-41AE-80C9-362F1C9C9C40}" dt="2025-08-21T10:50:14.198" v="2465" actId="1076"/>
        <pc:sldMkLst>
          <pc:docMk/>
          <pc:sldMk cId="4019837296" sldId="2205"/>
        </pc:sldMkLst>
        <pc:spChg chg="mod">
          <ac:chgData name="Vikesh Chugani" userId="9c759398cfaae00f" providerId="LiveId" clId="{93B14FD8-A78B-41AE-80C9-362F1C9C9C40}" dt="2025-08-20T15:20:57.124" v="1468" actId="790"/>
          <ac:spMkLst>
            <pc:docMk/>
            <pc:sldMk cId="4019837296" sldId="2205"/>
            <ac:spMk id="2" creationId="{F8B68A14-B2C6-839C-FF09-6DFDC8AC4102}"/>
          </ac:spMkLst>
        </pc:spChg>
        <pc:spChg chg="del">
          <ac:chgData name="Vikesh Chugani" userId="9c759398cfaae00f" providerId="LiveId" clId="{93B14FD8-A78B-41AE-80C9-362F1C9C9C40}" dt="2025-08-20T15:16:58.363" v="248" actId="478"/>
          <ac:spMkLst>
            <pc:docMk/>
            <pc:sldMk cId="4019837296" sldId="2205"/>
            <ac:spMk id="3" creationId="{055690F6-02D0-DE0D-B827-A14221C4B030}"/>
          </ac:spMkLst>
        </pc:spChg>
        <pc:spChg chg="add mod">
          <ac:chgData name="Vikesh Chugani" userId="9c759398cfaae00f" providerId="LiveId" clId="{93B14FD8-A78B-41AE-80C9-362F1C9C9C40}" dt="2025-08-21T10:50:14.198" v="2465" actId="1076"/>
          <ac:spMkLst>
            <pc:docMk/>
            <pc:sldMk cId="4019837296" sldId="2205"/>
            <ac:spMk id="3" creationId="{35317100-DF12-FFEB-7619-71B7DDABABA8}"/>
          </ac:spMkLst>
        </pc:spChg>
        <pc:spChg chg="add mod">
          <ac:chgData name="Vikesh Chugani" userId="9c759398cfaae00f" providerId="LiveId" clId="{93B14FD8-A78B-41AE-80C9-362F1C9C9C40}" dt="2025-08-21T10:50:10.133" v="2464" actId="1076"/>
          <ac:spMkLst>
            <pc:docMk/>
            <pc:sldMk cId="4019837296" sldId="2205"/>
            <ac:spMk id="4" creationId="{8D4CF6DD-4762-D289-92BD-8ED578F21E91}"/>
          </ac:spMkLst>
        </pc:spChg>
        <pc:spChg chg="add mod">
          <ac:chgData name="Vikesh Chugani" userId="9c759398cfaae00f" providerId="LiveId" clId="{93B14FD8-A78B-41AE-80C9-362F1C9C9C40}" dt="2025-08-20T15:20:57.124" v="1468" actId="790"/>
          <ac:spMkLst>
            <pc:docMk/>
            <pc:sldMk cId="4019837296" sldId="2205"/>
            <ac:spMk id="6" creationId="{85C1C5EF-C119-5DF7-E0CD-263BDAF670B3}"/>
          </ac:spMkLst>
        </pc:spChg>
        <pc:spChg chg="add mod">
          <ac:chgData name="Vikesh Chugani" userId="9c759398cfaae00f" providerId="LiveId" clId="{93B14FD8-A78B-41AE-80C9-362F1C9C9C40}" dt="2025-08-20T15:20:57.628" v="1469" actId="948"/>
          <ac:spMkLst>
            <pc:docMk/>
            <pc:sldMk cId="4019837296" sldId="2205"/>
            <ac:spMk id="8" creationId="{EECE6A82-D7DE-8FE4-4C8A-5593BF11DFF8}"/>
          </ac:spMkLst>
        </pc:spChg>
        <pc:spChg chg="add mod">
          <ac:chgData name="Vikesh Chugani" userId="9c759398cfaae00f" providerId="LiveId" clId="{93B14FD8-A78B-41AE-80C9-362F1C9C9C40}" dt="2025-08-20T15:20:57.124" v="1468" actId="790"/>
          <ac:spMkLst>
            <pc:docMk/>
            <pc:sldMk cId="4019837296" sldId="2205"/>
            <ac:spMk id="9" creationId="{C991D616-0BFE-8E8C-5DEF-E231C405FF33}"/>
          </ac:spMkLst>
        </pc:spChg>
        <pc:spChg chg="add del mod modVis">
          <ac:chgData name="Vikesh Chugani" userId="9c759398cfaae00f" providerId="LiveId" clId="{93B14FD8-A78B-41AE-80C9-362F1C9C9C40}" dt="2025-08-20T15:17:04.733" v="277"/>
          <ac:spMkLst>
            <pc:docMk/>
            <pc:sldMk cId="4019837296" sldId="2205"/>
            <ac:spMk id="10" creationId="{D5892F13-DF1E-00FC-C3D1-4DE498638394}"/>
          </ac:spMkLst>
        </pc:spChg>
        <pc:spChg chg="add del mod modVis">
          <ac:chgData name="Vikesh Chugani" userId="9c759398cfaae00f" providerId="LiveId" clId="{93B14FD8-A78B-41AE-80C9-362F1C9C9C40}" dt="2025-08-20T15:17:13.270" v="303"/>
          <ac:spMkLst>
            <pc:docMk/>
            <pc:sldMk cId="4019837296" sldId="2205"/>
            <ac:spMk id="11" creationId="{9EAC2C4D-024A-A44A-36A1-0629F9B942D1}"/>
          </ac:spMkLst>
        </pc:spChg>
        <pc:spChg chg="add del mod modVis">
          <ac:chgData name="Vikesh Chugani" userId="9c759398cfaae00f" providerId="LiveId" clId="{93B14FD8-A78B-41AE-80C9-362F1C9C9C40}" dt="2025-08-20T15:17:51.870" v="402"/>
          <ac:spMkLst>
            <pc:docMk/>
            <pc:sldMk cId="4019837296" sldId="2205"/>
            <ac:spMk id="12" creationId="{15AF2FE1-9BE7-B82A-7697-ED379B559EEB}"/>
          </ac:spMkLst>
        </pc:spChg>
        <pc:spChg chg="add del mod modVis">
          <ac:chgData name="Vikesh Chugani" userId="9c759398cfaae00f" providerId="LiveId" clId="{93B14FD8-A78B-41AE-80C9-362F1C9C9C40}" dt="2025-08-20T15:17:52.051" v="428"/>
          <ac:spMkLst>
            <pc:docMk/>
            <pc:sldMk cId="4019837296" sldId="2205"/>
            <ac:spMk id="13" creationId="{E00B0DF2-588D-4A63-48C1-B8AC9F5E4C29}"/>
          </ac:spMkLst>
        </pc:spChg>
        <pc:spChg chg="add del mod modVis">
          <ac:chgData name="Vikesh Chugani" userId="9c759398cfaae00f" providerId="LiveId" clId="{93B14FD8-A78B-41AE-80C9-362F1C9C9C40}" dt="2025-08-20T15:17:52.770" v="455"/>
          <ac:spMkLst>
            <pc:docMk/>
            <pc:sldMk cId="4019837296" sldId="2205"/>
            <ac:spMk id="14" creationId="{B8A9C886-DD8A-2AFA-2503-F295A5BC96FF}"/>
          </ac:spMkLst>
        </pc:spChg>
        <pc:spChg chg="add del mod modVis">
          <ac:chgData name="Vikesh Chugani" userId="9c759398cfaae00f" providerId="LiveId" clId="{93B14FD8-A78B-41AE-80C9-362F1C9C9C40}" dt="2025-08-20T15:17:54.096" v="485"/>
          <ac:spMkLst>
            <pc:docMk/>
            <pc:sldMk cId="4019837296" sldId="2205"/>
            <ac:spMk id="15" creationId="{75DBDA12-F5C9-41F1-5D14-73B0A83691B0}"/>
          </ac:spMkLst>
        </pc:spChg>
        <pc:spChg chg="add del mod modVis">
          <ac:chgData name="Vikesh Chugani" userId="9c759398cfaae00f" providerId="LiveId" clId="{93B14FD8-A78B-41AE-80C9-362F1C9C9C40}" dt="2025-08-20T15:17:55.141" v="514"/>
          <ac:spMkLst>
            <pc:docMk/>
            <pc:sldMk cId="4019837296" sldId="2205"/>
            <ac:spMk id="16" creationId="{BA4870A4-9405-7622-0143-CFECB05E137B}"/>
          </ac:spMkLst>
        </pc:spChg>
        <pc:spChg chg="add del mod modVis">
          <ac:chgData name="Vikesh Chugani" userId="9c759398cfaae00f" providerId="LiveId" clId="{93B14FD8-A78B-41AE-80C9-362F1C9C9C40}" dt="2025-08-20T15:17:57.643" v="551"/>
          <ac:spMkLst>
            <pc:docMk/>
            <pc:sldMk cId="4019837296" sldId="2205"/>
            <ac:spMk id="17" creationId="{74F71BEA-59A8-2ACB-BA40-75A43ECACAEA}"/>
          </ac:spMkLst>
        </pc:spChg>
        <pc:spChg chg="add del mod modVis">
          <ac:chgData name="Vikesh Chugani" userId="9c759398cfaae00f" providerId="LiveId" clId="{93B14FD8-A78B-41AE-80C9-362F1C9C9C40}" dt="2025-08-20T15:17:58.670" v="580"/>
          <ac:spMkLst>
            <pc:docMk/>
            <pc:sldMk cId="4019837296" sldId="2205"/>
            <ac:spMk id="18" creationId="{7BF4D22A-F643-DA16-9F67-3B2516ED3AC9}"/>
          </ac:spMkLst>
        </pc:spChg>
        <pc:spChg chg="add del mod modVis">
          <ac:chgData name="Vikesh Chugani" userId="9c759398cfaae00f" providerId="LiveId" clId="{93B14FD8-A78B-41AE-80C9-362F1C9C9C40}" dt="2025-08-20T15:18:00.916" v="606"/>
          <ac:spMkLst>
            <pc:docMk/>
            <pc:sldMk cId="4019837296" sldId="2205"/>
            <ac:spMk id="19" creationId="{CF2F48AB-D74E-EA2C-E7C2-CEB4E4774501}"/>
          </ac:spMkLst>
        </pc:spChg>
        <pc:spChg chg="add del mod modVis">
          <ac:chgData name="Vikesh Chugani" userId="9c759398cfaae00f" providerId="LiveId" clId="{93B14FD8-A78B-41AE-80C9-362F1C9C9C40}" dt="2025-08-20T15:18:09.965" v="641"/>
          <ac:spMkLst>
            <pc:docMk/>
            <pc:sldMk cId="4019837296" sldId="2205"/>
            <ac:spMk id="20" creationId="{9467FB95-E3E9-E9A9-CF0C-659D024F818A}"/>
          </ac:spMkLst>
        </pc:spChg>
        <pc:spChg chg="add del mod modVis">
          <ac:chgData name="Vikesh Chugani" userId="9c759398cfaae00f" providerId="LiveId" clId="{93B14FD8-A78B-41AE-80C9-362F1C9C9C40}" dt="2025-08-20T15:18:10.594" v="668"/>
          <ac:spMkLst>
            <pc:docMk/>
            <pc:sldMk cId="4019837296" sldId="2205"/>
            <ac:spMk id="21" creationId="{0A993184-E578-30ED-26A7-DABB0D4BC3F3}"/>
          </ac:spMkLst>
        </pc:spChg>
        <pc:spChg chg="add del mod modVis">
          <ac:chgData name="Vikesh Chugani" userId="9c759398cfaae00f" providerId="LiveId" clId="{93B14FD8-A78B-41AE-80C9-362F1C9C9C40}" dt="2025-08-20T15:18:12.847" v="699"/>
          <ac:spMkLst>
            <pc:docMk/>
            <pc:sldMk cId="4019837296" sldId="2205"/>
            <ac:spMk id="22" creationId="{2698F2CC-2AE0-3A65-2111-A4EF184B81B8}"/>
          </ac:spMkLst>
        </pc:spChg>
        <pc:spChg chg="add del mod modVis">
          <ac:chgData name="Vikesh Chugani" userId="9c759398cfaae00f" providerId="LiveId" clId="{93B14FD8-A78B-41AE-80C9-362F1C9C9C40}" dt="2025-08-20T15:18:15.210" v="729"/>
          <ac:spMkLst>
            <pc:docMk/>
            <pc:sldMk cId="4019837296" sldId="2205"/>
            <ac:spMk id="23" creationId="{1BA692A6-9C3B-A167-5EEF-DA062AED54F4}"/>
          </ac:spMkLst>
        </pc:spChg>
        <pc:spChg chg="add del mod modVis">
          <ac:chgData name="Vikesh Chugani" userId="9c759398cfaae00f" providerId="LiveId" clId="{93B14FD8-A78B-41AE-80C9-362F1C9C9C40}" dt="2025-08-20T15:18:16.575" v="755"/>
          <ac:spMkLst>
            <pc:docMk/>
            <pc:sldMk cId="4019837296" sldId="2205"/>
            <ac:spMk id="24" creationId="{5F1A3C1B-A1C4-767B-D421-3EE277BD9F26}"/>
          </ac:spMkLst>
        </pc:spChg>
        <pc:spChg chg="add del mod modVis">
          <ac:chgData name="Vikesh Chugani" userId="9c759398cfaae00f" providerId="LiveId" clId="{93B14FD8-A78B-41AE-80C9-362F1C9C9C40}" dt="2025-08-20T15:18:17.164" v="781"/>
          <ac:spMkLst>
            <pc:docMk/>
            <pc:sldMk cId="4019837296" sldId="2205"/>
            <ac:spMk id="25" creationId="{79F8D25A-4BFD-DCFE-EC20-A1256EF09701}"/>
          </ac:spMkLst>
        </pc:spChg>
        <pc:spChg chg="add del mod modVis">
          <ac:chgData name="Vikesh Chugani" userId="9c759398cfaae00f" providerId="LiveId" clId="{93B14FD8-A78B-41AE-80C9-362F1C9C9C40}" dt="2025-08-20T15:18:18.967" v="816"/>
          <ac:spMkLst>
            <pc:docMk/>
            <pc:sldMk cId="4019837296" sldId="2205"/>
            <ac:spMk id="26" creationId="{114A82D7-AF9D-84A0-E981-3AFDF2E5C04D}"/>
          </ac:spMkLst>
        </pc:spChg>
        <pc:spChg chg="add del mod modVis">
          <ac:chgData name="Vikesh Chugani" userId="9c759398cfaae00f" providerId="LiveId" clId="{93B14FD8-A78B-41AE-80C9-362F1C9C9C40}" dt="2025-08-20T15:18:19.542" v="842"/>
          <ac:spMkLst>
            <pc:docMk/>
            <pc:sldMk cId="4019837296" sldId="2205"/>
            <ac:spMk id="27" creationId="{3334A5BD-1641-8C68-88C4-B18A06F215A0}"/>
          </ac:spMkLst>
        </pc:spChg>
        <pc:spChg chg="add del mod modVis">
          <ac:chgData name="Vikesh Chugani" userId="9c759398cfaae00f" providerId="LiveId" clId="{93B14FD8-A78B-41AE-80C9-362F1C9C9C40}" dt="2025-08-20T15:18:22.666" v="874"/>
          <ac:spMkLst>
            <pc:docMk/>
            <pc:sldMk cId="4019837296" sldId="2205"/>
            <ac:spMk id="28" creationId="{4C8A10F5-2F34-95B0-ECED-623977284618}"/>
          </ac:spMkLst>
        </pc:spChg>
        <pc:spChg chg="add del mod modVis">
          <ac:chgData name="Vikesh Chugani" userId="9c759398cfaae00f" providerId="LiveId" clId="{93B14FD8-A78B-41AE-80C9-362F1C9C9C40}" dt="2025-08-20T15:18:25.062" v="913"/>
          <ac:spMkLst>
            <pc:docMk/>
            <pc:sldMk cId="4019837296" sldId="2205"/>
            <ac:spMk id="29" creationId="{AAC623D4-DFBF-1B2A-C85D-56B4D6F62780}"/>
          </ac:spMkLst>
        </pc:spChg>
        <pc:spChg chg="add del mod modVis">
          <ac:chgData name="Vikesh Chugani" userId="9c759398cfaae00f" providerId="LiveId" clId="{93B14FD8-A78B-41AE-80C9-362F1C9C9C40}" dt="2025-08-20T15:18:27.964" v="960"/>
          <ac:spMkLst>
            <pc:docMk/>
            <pc:sldMk cId="4019837296" sldId="2205"/>
            <ac:spMk id="30" creationId="{CC82CA46-C50E-9B77-CE1B-8C71442B00D8}"/>
          </ac:spMkLst>
        </pc:spChg>
        <pc:spChg chg="add del mod modVis">
          <ac:chgData name="Vikesh Chugani" userId="9c759398cfaae00f" providerId="LiveId" clId="{93B14FD8-A78B-41AE-80C9-362F1C9C9C40}" dt="2025-08-20T15:18:29.548" v="990"/>
          <ac:spMkLst>
            <pc:docMk/>
            <pc:sldMk cId="4019837296" sldId="2205"/>
            <ac:spMk id="31" creationId="{C6676C94-1DCE-22A8-BDA4-43166C133A4D}"/>
          </ac:spMkLst>
        </pc:spChg>
        <pc:spChg chg="add del mod modVis">
          <ac:chgData name="Vikesh Chugani" userId="9c759398cfaae00f" providerId="LiveId" clId="{93B14FD8-A78B-41AE-80C9-362F1C9C9C40}" dt="2025-08-20T15:18:33.475" v="1030"/>
          <ac:spMkLst>
            <pc:docMk/>
            <pc:sldMk cId="4019837296" sldId="2205"/>
            <ac:spMk id="32" creationId="{CFDBBFCD-C140-91B2-CABC-DE545CB468E3}"/>
          </ac:spMkLst>
        </pc:spChg>
        <pc:spChg chg="add del mod modVis">
          <ac:chgData name="Vikesh Chugani" userId="9c759398cfaae00f" providerId="LiveId" clId="{93B14FD8-A78B-41AE-80C9-362F1C9C9C40}" dt="2025-08-20T15:18:34.947" v="1064"/>
          <ac:spMkLst>
            <pc:docMk/>
            <pc:sldMk cId="4019837296" sldId="2205"/>
            <ac:spMk id="33" creationId="{0A1E9BD6-B918-D7B0-D546-7E729028AA54}"/>
          </ac:spMkLst>
        </pc:spChg>
        <pc:spChg chg="add del mod modVis">
          <ac:chgData name="Vikesh Chugani" userId="9c759398cfaae00f" providerId="LiveId" clId="{93B14FD8-A78B-41AE-80C9-362F1C9C9C40}" dt="2025-08-20T15:18:35.836" v="1092"/>
          <ac:spMkLst>
            <pc:docMk/>
            <pc:sldMk cId="4019837296" sldId="2205"/>
            <ac:spMk id="34" creationId="{517446E5-F0AC-67AF-2F07-6031882D10C2}"/>
          </ac:spMkLst>
        </pc:spChg>
        <pc:spChg chg="add del mod modVis">
          <ac:chgData name="Vikesh Chugani" userId="9c759398cfaae00f" providerId="LiveId" clId="{93B14FD8-A78B-41AE-80C9-362F1C9C9C40}" dt="2025-08-20T15:18:39.240" v="1129"/>
          <ac:spMkLst>
            <pc:docMk/>
            <pc:sldMk cId="4019837296" sldId="2205"/>
            <ac:spMk id="35" creationId="{F1ED0580-6998-17B6-8A3C-97986FE9011D}"/>
          </ac:spMkLst>
        </pc:spChg>
        <pc:spChg chg="add del mod modVis">
          <ac:chgData name="Vikesh Chugani" userId="9c759398cfaae00f" providerId="LiveId" clId="{93B14FD8-A78B-41AE-80C9-362F1C9C9C40}" dt="2025-08-20T15:18:41.044" v="1162"/>
          <ac:spMkLst>
            <pc:docMk/>
            <pc:sldMk cId="4019837296" sldId="2205"/>
            <ac:spMk id="36" creationId="{C76BEC4E-5630-8393-078C-F170F8A874CC}"/>
          </ac:spMkLst>
        </pc:spChg>
        <pc:spChg chg="add del mod modVis">
          <ac:chgData name="Vikesh Chugani" userId="9c759398cfaae00f" providerId="LiveId" clId="{93B14FD8-A78B-41AE-80C9-362F1C9C9C40}" dt="2025-08-20T15:18:45.907" v="1190"/>
          <ac:spMkLst>
            <pc:docMk/>
            <pc:sldMk cId="4019837296" sldId="2205"/>
            <ac:spMk id="37" creationId="{59859688-C30D-409F-04F5-75F1DC577C75}"/>
          </ac:spMkLst>
        </pc:spChg>
        <pc:spChg chg="add del mod modVis">
          <ac:chgData name="Vikesh Chugani" userId="9c759398cfaae00f" providerId="LiveId" clId="{93B14FD8-A78B-41AE-80C9-362F1C9C9C40}" dt="2025-08-20T15:18:48.037" v="1225"/>
          <ac:spMkLst>
            <pc:docMk/>
            <pc:sldMk cId="4019837296" sldId="2205"/>
            <ac:spMk id="38" creationId="{2CCA2F29-EEDF-86B1-2D18-3A399CAF5EFA}"/>
          </ac:spMkLst>
        </pc:spChg>
        <pc:spChg chg="add del mod modVis">
          <ac:chgData name="Vikesh Chugani" userId="9c759398cfaae00f" providerId="LiveId" clId="{93B14FD8-A78B-41AE-80C9-362F1C9C9C40}" dt="2025-08-20T15:18:54.186" v="1251"/>
          <ac:spMkLst>
            <pc:docMk/>
            <pc:sldMk cId="4019837296" sldId="2205"/>
            <ac:spMk id="39" creationId="{A689B7CA-6F9C-49B8-4DCB-659BB1BC2573}"/>
          </ac:spMkLst>
        </pc:spChg>
        <pc:spChg chg="add del mod modVis">
          <ac:chgData name="Vikesh Chugani" userId="9c759398cfaae00f" providerId="LiveId" clId="{93B14FD8-A78B-41AE-80C9-362F1C9C9C40}" dt="2025-08-20T15:19:04.837" v="1277"/>
          <ac:spMkLst>
            <pc:docMk/>
            <pc:sldMk cId="4019837296" sldId="2205"/>
            <ac:spMk id="40" creationId="{6B7A9230-90FB-29CD-15EA-58A2F71946DE}"/>
          </ac:spMkLst>
        </pc:spChg>
        <pc:spChg chg="add del mod modVis">
          <ac:chgData name="Vikesh Chugani" userId="9c759398cfaae00f" providerId="LiveId" clId="{93B14FD8-A78B-41AE-80C9-362F1C9C9C40}" dt="2025-08-20T15:19:11.668" v="1305"/>
          <ac:spMkLst>
            <pc:docMk/>
            <pc:sldMk cId="4019837296" sldId="2205"/>
            <ac:spMk id="41" creationId="{2EEE3FA3-7E62-A267-7490-1450D1450269}"/>
          </ac:spMkLst>
        </pc:spChg>
        <pc:spChg chg="add del mod modVis">
          <ac:chgData name="Vikesh Chugani" userId="9c759398cfaae00f" providerId="LiveId" clId="{93B14FD8-A78B-41AE-80C9-362F1C9C9C40}" dt="2025-08-20T15:19:13.143" v="1338"/>
          <ac:spMkLst>
            <pc:docMk/>
            <pc:sldMk cId="4019837296" sldId="2205"/>
            <ac:spMk id="42" creationId="{D322D31D-C26C-CC9F-D97E-BDA08D4FA8F8}"/>
          </ac:spMkLst>
        </pc:spChg>
        <pc:spChg chg="add del mod modVis">
          <ac:chgData name="Vikesh Chugani" userId="9c759398cfaae00f" providerId="LiveId" clId="{93B14FD8-A78B-41AE-80C9-362F1C9C9C40}" dt="2025-08-20T15:19:18.316" v="1375"/>
          <ac:spMkLst>
            <pc:docMk/>
            <pc:sldMk cId="4019837296" sldId="2205"/>
            <ac:spMk id="43" creationId="{5CAE06F9-E9C5-9E43-B0CD-2CD1447C66BF}"/>
          </ac:spMkLst>
        </pc:spChg>
        <pc:spChg chg="add del mod modVis">
          <ac:chgData name="Vikesh Chugani" userId="9c759398cfaae00f" providerId="LiveId" clId="{93B14FD8-A78B-41AE-80C9-362F1C9C9C40}" dt="2025-08-20T15:19:19.570" v="1404"/>
          <ac:spMkLst>
            <pc:docMk/>
            <pc:sldMk cId="4019837296" sldId="2205"/>
            <ac:spMk id="44" creationId="{82F303C8-2E2C-3C12-3E2C-092BBA420514}"/>
          </ac:spMkLst>
        </pc:spChg>
        <pc:spChg chg="add del mod modVis">
          <ac:chgData name="Vikesh Chugani" userId="9c759398cfaae00f" providerId="LiveId" clId="{93B14FD8-A78B-41AE-80C9-362F1C9C9C40}" dt="2025-08-20T15:20:57.656" v="1491"/>
          <ac:spMkLst>
            <pc:docMk/>
            <pc:sldMk cId="4019837296" sldId="2205"/>
            <ac:spMk id="45" creationId="{D40A76B5-D464-C4D8-AB45-CEB39395BF67}"/>
          </ac:spMkLst>
        </pc:spChg>
        <pc:graphicFrameChg chg="mod">
          <ac:chgData name="Vikesh Chugani" userId="9c759398cfaae00f" providerId="LiveId" clId="{93B14FD8-A78B-41AE-80C9-362F1C9C9C40}" dt="2025-08-20T15:20:57.657" v="1493"/>
          <ac:graphicFrameMkLst>
            <pc:docMk/>
            <pc:sldMk cId="4019837296" sldId="2205"/>
            <ac:graphicFrameMk id="5" creationId="{DEDE778F-4148-E6BB-335B-9918AC584D47}"/>
          </ac:graphicFrameMkLst>
        </pc:graphicFrameChg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412385012" sldId="2206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903786285" sldId="2208"/>
        </pc:sldMkLst>
      </pc:sldChg>
      <pc:sldChg chg="del">
        <pc:chgData name="Vikesh Chugani" userId="9c759398cfaae00f" providerId="LiveId" clId="{93B14FD8-A78B-41AE-80C9-362F1C9C9C40}" dt="2025-08-20T15:11:47.610" v="6" actId="47"/>
        <pc:sldMkLst>
          <pc:docMk/>
          <pc:sldMk cId="88837280" sldId="2209"/>
        </pc:sldMkLst>
      </pc:sldChg>
      <pc:sldChg chg="del">
        <pc:chgData name="Vikesh Chugani" userId="9c759398cfaae00f" providerId="LiveId" clId="{93B14FD8-A78B-41AE-80C9-362F1C9C9C40}" dt="2025-08-20T15:11:59.022" v="10" actId="47"/>
        <pc:sldMkLst>
          <pc:docMk/>
          <pc:sldMk cId="2976705604" sldId="2210"/>
        </pc:sldMkLst>
      </pc:sldChg>
      <pc:sldMasterChg chg="addSldLayout delSldLayout">
        <pc:chgData name="Vikesh Chugani" userId="9c759398cfaae00f" providerId="LiveId" clId="{93B14FD8-A78B-41AE-80C9-362F1C9C9C40}" dt="2025-08-20T15:11:40.937" v="2" actId="47"/>
        <pc:sldMasterMkLst>
          <pc:docMk/>
          <pc:sldMasterMk cId="0" sldId="2147483648"/>
        </pc:sldMasterMkLst>
        <pc:sldLayoutChg chg="del">
          <pc:chgData name="Vikesh Chugani" userId="9c759398cfaae00f" providerId="LiveId" clId="{93B14FD8-A78B-41AE-80C9-362F1C9C9C40}" dt="2025-08-20T15:11:36.362" v="0" actId="47"/>
          <pc:sldLayoutMkLst>
            <pc:docMk/>
            <pc:sldMasterMk cId="0" sldId="2147483648"/>
            <pc:sldLayoutMk cId="2595545123" sldId="2147483661"/>
          </pc:sldLayoutMkLst>
        </pc:sldLayoutChg>
        <pc:sldLayoutChg chg="del">
          <pc:chgData name="Vikesh Chugani" userId="9c759398cfaae00f" providerId="LiveId" clId="{93B14FD8-A78B-41AE-80C9-362F1C9C9C40}" dt="2025-08-20T15:11:36.362" v="0" actId="47"/>
          <pc:sldLayoutMkLst>
            <pc:docMk/>
            <pc:sldMasterMk cId="0" sldId="2147483648"/>
            <pc:sldLayoutMk cId="1925853391" sldId="2147483662"/>
          </pc:sldLayoutMkLst>
        </pc:sldLayoutChg>
        <pc:sldLayoutChg chg="del">
          <pc:chgData name="Vikesh Chugani" userId="9c759398cfaae00f" providerId="LiveId" clId="{93B14FD8-A78B-41AE-80C9-362F1C9C9C40}" dt="2025-08-20T15:11:36.362" v="0" actId="47"/>
          <pc:sldLayoutMkLst>
            <pc:docMk/>
            <pc:sldMasterMk cId="0" sldId="2147483648"/>
            <pc:sldLayoutMk cId="2926243512" sldId="2147483664"/>
          </pc:sldLayoutMkLst>
        </pc:sldLayoutChg>
        <pc:sldLayoutChg chg="add del">
          <pc:chgData name="Vikesh Chugani" userId="9c759398cfaae00f" providerId="LiveId" clId="{93B14FD8-A78B-41AE-80C9-362F1C9C9C40}" dt="2025-08-20T15:11:40.937" v="2" actId="47"/>
          <pc:sldLayoutMkLst>
            <pc:docMk/>
            <pc:sldMasterMk cId="0" sldId="2147483648"/>
            <pc:sldLayoutMk cId="1843151154" sldId="2147483827"/>
          </pc:sldLayoutMkLst>
        </pc:sldLayoutChg>
      </pc:sldMasterChg>
    </pc:docChg>
  </pc:docChgLst>
  <pc:docChgLst>
    <pc:chgData name="Vikesh Chugani" userId="9c759398cfaae00f" providerId="LiveId" clId="{07CA10FD-78FC-4FDA-8BEE-577F158A1396}"/>
    <pc:docChg chg="undo redo custSel addSld delSld modSld sldOrd addMainMaster delMainMaster modMainMaster modSection replTag">
      <pc:chgData name="Vikesh Chugani" userId="9c759398cfaae00f" providerId="LiveId" clId="{07CA10FD-78FC-4FDA-8BEE-577F158A1396}" dt="2024-08-19T11:43:55.007" v="106854" actId="729"/>
      <pc:docMkLst>
        <pc:docMk/>
      </pc:docMkLst>
      <pc:sldChg chg="modSp mod modNotesTx">
        <pc:chgData name="Vikesh Chugani" userId="9c759398cfaae00f" providerId="LiveId" clId="{07CA10FD-78FC-4FDA-8BEE-577F158A1396}" dt="2024-08-15T13:23:54.944" v="99916" actId="20577"/>
        <pc:sldMkLst>
          <pc:docMk/>
          <pc:sldMk cId="0" sldId="256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57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58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59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0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1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2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3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4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5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6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7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8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9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70"/>
        </pc:sldMkLst>
      </pc:sldChg>
      <pc:sldChg chg="modSp mod ord modShow modNotesTx">
        <pc:chgData name="Vikesh Chugani" userId="9c759398cfaae00f" providerId="LiveId" clId="{07CA10FD-78FC-4FDA-8BEE-577F158A1396}" dt="2024-08-13T15:15:23.661" v="91178" actId="729"/>
        <pc:sldMkLst>
          <pc:docMk/>
          <pc:sldMk cId="0" sldId="306"/>
        </pc:sldMkLst>
      </pc:sldChg>
      <pc:sldChg chg="addSp delSp modSp mod ord modNotesTx">
        <pc:chgData name="Vikesh Chugani" userId="9c759398cfaae00f" providerId="LiveId" clId="{07CA10FD-78FC-4FDA-8BEE-577F158A1396}" dt="2024-08-19T11:32:10.806" v="105990" actId="20577"/>
        <pc:sldMkLst>
          <pc:docMk/>
          <pc:sldMk cId="0" sldId="307"/>
        </pc:sldMkLst>
      </pc:sldChg>
      <pc:sldChg chg="mod ord modShow">
        <pc:chgData name="Vikesh Chugani" userId="9c759398cfaae00f" providerId="LiveId" clId="{07CA10FD-78FC-4FDA-8BEE-577F158A1396}" dt="2024-08-13T15:15:26.347" v="91179" actId="729"/>
        <pc:sldMkLst>
          <pc:docMk/>
          <pc:sldMk cId="0" sldId="308"/>
        </pc:sldMkLst>
      </pc:sldChg>
      <pc:sldChg chg="addSp delSp modSp mod ord modNotesTx">
        <pc:chgData name="Vikesh Chugani" userId="9c759398cfaae00f" providerId="LiveId" clId="{07CA10FD-78FC-4FDA-8BEE-577F158A1396}" dt="2024-08-13T15:35:18.234" v="98824" actId="20577"/>
        <pc:sldMkLst>
          <pc:docMk/>
          <pc:sldMk cId="0" sldId="309"/>
        </pc:sldMkLst>
      </pc:sldChg>
      <pc:sldChg chg="mod modShow">
        <pc:chgData name="Vikesh Chugani" userId="9c759398cfaae00f" providerId="LiveId" clId="{07CA10FD-78FC-4FDA-8BEE-577F158A1396}" dt="2024-07-28T21:07:29.775" v="11280" actId="729"/>
        <pc:sldMkLst>
          <pc:docMk/>
          <pc:sldMk cId="0" sldId="310"/>
        </pc:sldMkLst>
      </pc:sldChg>
      <pc:sldChg chg="addSp delSp modSp mod modShow">
        <pc:chgData name="Vikesh Chugani" userId="9c759398cfaae00f" providerId="LiveId" clId="{07CA10FD-78FC-4FDA-8BEE-577F158A1396}" dt="2024-08-08T17:55:46.456" v="63005" actId="478"/>
        <pc:sldMkLst>
          <pc:docMk/>
          <pc:sldMk cId="0" sldId="311"/>
        </pc:sldMkLst>
      </pc:sldChg>
      <pc:sldChg chg="modSp add del mod modShow">
        <pc:chgData name="Vikesh Chugani" userId="9c759398cfaae00f" providerId="LiveId" clId="{07CA10FD-78FC-4FDA-8BEE-577F158A1396}" dt="2024-08-15T15:37:19.887" v="103637"/>
        <pc:sldMkLst>
          <pc:docMk/>
          <pc:sldMk cId="0" sldId="312"/>
        </pc:sldMkLst>
      </pc:sldChg>
      <pc:sldChg chg="modSp add del mod modShow">
        <pc:chgData name="Vikesh Chugani" userId="9c759398cfaae00f" providerId="LiveId" clId="{07CA10FD-78FC-4FDA-8BEE-577F158A1396}" dt="2024-08-15T15:37:18.863" v="103634"/>
        <pc:sldMkLst>
          <pc:docMk/>
          <pc:sldMk cId="0" sldId="313"/>
        </pc:sldMkLst>
      </pc:sldChg>
      <pc:sldChg chg="mod ord modShow">
        <pc:chgData name="Vikesh Chugani" userId="9c759398cfaae00f" providerId="LiveId" clId="{07CA10FD-78FC-4FDA-8BEE-577F158A1396}" dt="2024-08-08T17:49:39.233" v="62929"/>
        <pc:sldMkLst>
          <pc:docMk/>
          <pc:sldMk cId="1775406622" sldId="359"/>
        </pc:sldMkLst>
      </pc:sldChg>
      <pc:sldChg chg="addSp delSp modSp mod ord modShow modNotesTx">
        <pc:chgData name="Vikesh Chugani" userId="9c759398cfaae00f" providerId="LiveId" clId="{07CA10FD-78FC-4FDA-8BEE-577F158A1396}" dt="2024-08-19T09:52:58.655" v="103699" actId="20577"/>
        <pc:sldMkLst>
          <pc:docMk/>
          <pc:sldMk cId="2873868313" sldId="382"/>
        </pc:sldMkLst>
      </pc:sldChg>
      <pc:sldChg chg="del mod modShow">
        <pc:chgData name="Vikesh Chugani" userId="9c759398cfaae00f" providerId="LiveId" clId="{07CA10FD-78FC-4FDA-8BEE-577F158A1396}" dt="2024-08-15T15:37:38.454" v="103642" actId="47"/>
        <pc:sldMkLst>
          <pc:docMk/>
          <pc:sldMk cId="4220512071" sldId="448"/>
        </pc:sldMkLst>
      </pc:sldChg>
      <pc:sldChg chg="delSp modSp add del mod ord modShow">
        <pc:chgData name="Vikesh Chugani" userId="9c759398cfaae00f" providerId="LiveId" clId="{07CA10FD-78FC-4FDA-8BEE-577F158A1396}" dt="2024-08-08T17:50:10.247" v="62940"/>
        <pc:sldMkLst>
          <pc:docMk/>
          <pc:sldMk cId="2706074010" sldId="461"/>
        </pc:sldMkLst>
      </pc:sldChg>
      <pc:sldChg chg="del">
        <pc:chgData name="Vikesh Chugani" userId="9c759398cfaae00f" providerId="LiveId" clId="{07CA10FD-78FC-4FDA-8BEE-577F158A1396}" dt="2024-07-23T23:13:31.203" v="7981" actId="47"/>
        <pc:sldMkLst>
          <pc:docMk/>
          <pc:sldMk cId="379347412" sldId="462"/>
        </pc:sldMkLst>
      </pc:sldChg>
      <pc:sldChg chg="del">
        <pc:chgData name="Vikesh Chugani" userId="9c759398cfaae00f" providerId="LiveId" clId="{07CA10FD-78FC-4FDA-8BEE-577F158A1396}" dt="2024-07-19T13:04:33.821" v="6451" actId="47"/>
        <pc:sldMkLst>
          <pc:docMk/>
          <pc:sldMk cId="2766041829" sldId="499"/>
        </pc:sldMkLst>
      </pc:sldChg>
      <pc:sldChg chg="del">
        <pc:chgData name="Vikesh Chugani" userId="9c759398cfaae00f" providerId="LiveId" clId="{07CA10FD-78FC-4FDA-8BEE-577F158A1396}" dt="2024-08-15T15:37:35.079" v="103639" actId="47"/>
        <pc:sldMkLst>
          <pc:docMk/>
          <pc:sldMk cId="1098354899" sldId="513"/>
        </pc:sldMkLst>
      </pc:sldChg>
      <pc:sldChg chg="del">
        <pc:chgData name="Vikesh Chugani" userId="9c759398cfaae00f" providerId="LiveId" clId="{07CA10FD-78FC-4FDA-8BEE-577F158A1396}" dt="2024-07-19T13:00:06.395" v="4233" actId="47"/>
        <pc:sldMkLst>
          <pc:docMk/>
          <pc:sldMk cId="3060609046" sldId="513"/>
        </pc:sldMkLst>
      </pc:sldChg>
      <pc:sldChg chg="addSp delSp modSp mod modNotesTx">
        <pc:chgData name="Vikesh Chugani" userId="9c759398cfaae00f" providerId="LiveId" clId="{07CA10FD-78FC-4FDA-8BEE-577F158A1396}" dt="2024-08-19T10:31:36.515" v="104118" actId="6549"/>
        <pc:sldMkLst>
          <pc:docMk/>
          <pc:sldMk cId="1997537558" sldId="514"/>
        </pc:sldMkLst>
      </pc:sldChg>
      <pc:sldChg chg="addSp delSp modSp del mod">
        <pc:chgData name="Vikesh Chugani" userId="9c759398cfaae00f" providerId="LiveId" clId="{07CA10FD-78FC-4FDA-8BEE-577F158A1396}" dt="2024-07-19T12:33:43.881" v="1216" actId="47"/>
        <pc:sldMkLst>
          <pc:docMk/>
          <pc:sldMk cId="3922589586" sldId="515"/>
        </pc:sldMkLst>
      </pc:sldChg>
      <pc:sldChg chg="del">
        <pc:chgData name="Vikesh Chugani" userId="9c759398cfaae00f" providerId="LiveId" clId="{07CA10FD-78FC-4FDA-8BEE-577F158A1396}" dt="2024-08-15T15:37:36.256" v="103640" actId="47"/>
        <pc:sldMkLst>
          <pc:docMk/>
          <pc:sldMk cId="3375247243" sldId="517"/>
        </pc:sldMkLst>
      </pc:sldChg>
      <pc:sldChg chg="del mod modShow">
        <pc:chgData name="Vikesh Chugani" userId="9c759398cfaae00f" providerId="LiveId" clId="{07CA10FD-78FC-4FDA-8BEE-577F158A1396}" dt="2024-08-15T15:37:39.457" v="103643" actId="47"/>
        <pc:sldMkLst>
          <pc:docMk/>
          <pc:sldMk cId="1237122441" sldId="519"/>
        </pc:sldMkLst>
      </pc:sldChg>
      <pc:sldChg chg="del">
        <pc:chgData name="Vikesh Chugani" userId="9c759398cfaae00f" providerId="LiveId" clId="{07CA10FD-78FC-4FDA-8BEE-577F158A1396}" dt="2024-07-28T21:26:26.602" v="16797" actId="47"/>
        <pc:sldMkLst>
          <pc:docMk/>
          <pc:sldMk cId="4070745935" sldId="526"/>
        </pc:sldMkLst>
      </pc:sldChg>
      <pc:sldChg chg="modSp mod modNotesTx">
        <pc:chgData name="Vikesh Chugani" userId="9c759398cfaae00f" providerId="LiveId" clId="{07CA10FD-78FC-4FDA-8BEE-577F158A1396}" dt="2024-08-15T14:51:08.177" v="101751"/>
        <pc:sldMkLst>
          <pc:docMk/>
          <pc:sldMk cId="232353031" sldId="547"/>
        </pc:sldMkLst>
      </pc:sldChg>
      <pc:sldChg chg="modNotesTx">
        <pc:chgData name="Vikesh Chugani" userId="9c759398cfaae00f" providerId="LiveId" clId="{07CA10FD-78FC-4FDA-8BEE-577F158A1396}" dt="2024-08-19T11:27:18.733" v="105883" actId="20577"/>
        <pc:sldMkLst>
          <pc:docMk/>
          <pc:sldMk cId="870430930" sldId="550"/>
        </pc:sldMkLst>
      </pc:sldChg>
      <pc:sldChg chg="addSp delSp modSp mod ord modNotesTx">
        <pc:chgData name="Vikesh Chugani" userId="9c759398cfaae00f" providerId="LiveId" clId="{07CA10FD-78FC-4FDA-8BEE-577F158A1396}" dt="2024-08-19T11:43:47.934" v="106853" actId="20577"/>
        <pc:sldMkLst>
          <pc:docMk/>
          <pc:sldMk cId="2241106778" sldId="554"/>
        </pc:sldMkLst>
      </pc:sldChg>
      <pc:sldChg chg="mod modShow">
        <pc:chgData name="Vikesh Chugani" userId="9c759398cfaae00f" providerId="LiveId" clId="{07CA10FD-78FC-4FDA-8BEE-577F158A1396}" dt="2024-08-08T17:51:00.886" v="62947" actId="729"/>
        <pc:sldMkLst>
          <pc:docMk/>
          <pc:sldMk cId="1148439823" sldId="557"/>
        </pc:sldMkLst>
      </pc:sldChg>
      <pc:sldChg chg="modSp mod ord modNotesTx">
        <pc:chgData name="Vikesh Chugani" userId="9c759398cfaae00f" providerId="LiveId" clId="{07CA10FD-78FC-4FDA-8BEE-577F158A1396}" dt="2024-08-08T17:49:44.894" v="62930"/>
        <pc:sldMkLst>
          <pc:docMk/>
          <pc:sldMk cId="3399892931" sldId="568"/>
        </pc:sldMkLst>
      </pc:sldChg>
      <pc:sldChg chg="modSp mod ord modNotesTx">
        <pc:chgData name="Vikesh Chugani" userId="9c759398cfaae00f" providerId="LiveId" clId="{07CA10FD-78FC-4FDA-8BEE-577F158A1396}" dt="2024-08-19T10:12:12.755" v="103754" actId="20577"/>
        <pc:sldMkLst>
          <pc:docMk/>
          <pc:sldMk cId="1171548870" sldId="576"/>
        </pc:sldMkLst>
      </pc:sldChg>
      <pc:sldChg chg="del ord">
        <pc:chgData name="Vikesh Chugani" userId="9c759398cfaae00f" providerId="LiveId" clId="{07CA10FD-78FC-4FDA-8BEE-577F158A1396}" dt="2024-07-28T21:26:23.392" v="16796" actId="47"/>
        <pc:sldMkLst>
          <pc:docMk/>
          <pc:sldMk cId="3387515160" sldId="1437"/>
        </pc:sldMkLst>
      </pc:sldChg>
      <pc:sldChg chg="modSp add del mod ord modShow">
        <pc:chgData name="Vikesh Chugani" userId="9c759398cfaae00f" providerId="LiveId" clId="{07CA10FD-78FC-4FDA-8BEE-577F158A1396}" dt="2024-08-15T15:36:57.531" v="103624"/>
        <pc:sldMkLst>
          <pc:docMk/>
          <pc:sldMk cId="492950247" sldId="1442"/>
        </pc:sldMkLst>
      </pc:sldChg>
      <pc:sldChg chg="modNotesTx">
        <pc:chgData name="Vikesh Chugani" userId="9c759398cfaae00f" providerId="LiveId" clId="{07CA10FD-78FC-4FDA-8BEE-577F158A1396}" dt="2024-08-08T14:50:45.429" v="45346" actId="20577"/>
        <pc:sldMkLst>
          <pc:docMk/>
          <pc:sldMk cId="2344106334" sldId="1458"/>
        </pc:sldMkLst>
      </pc:sldChg>
      <pc:sldChg chg="modSp mod ord modShow">
        <pc:chgData name="Vikesh Chugani" userId="9c759398cfaae00f" providerId="LiveId" clId="{07CA10FD-78FC-4FDA-8BEE-577F158A1396}" dt="2024-08-19T11:43:55.007" v="106854" actId="729"/>
        <pc:sldMkLst>
          <pc:docMk/>
          <pc:sldMk cId="4055912385" sldId="1462"/>
        </pc:sldMkLst>
      </pc:sldChg>
      <pc:sldChg chg="ord">
        <pc:chgData name="Vikesh Chugani" userId="9c759398cfaae00f" providerId="LiveId" clId="{07CA10FD-78FC-4FDA-8BEE-577F158A1396}" dt="2024-08-08T17:48:43.435" v="62921"/>
        <pc:sldMkLst>
          <pc:docMk/>
          <pc:sldMk cId="1363970311" sldId="1472"/>
        </pc:sldMkLst>
      </pc:sldChg>
      <pc:sldChg chg="mod modShow">
        <pc:chgData name="Vikesh Chugani" userId="9c759398cfaae00f" providerId="LiveId" clId="{07CA10FD-78FC-4FDA-8BEE-577F158A1396}" dt="2024-08-08T17:47:34.162" v="62911" actId="729"/>
        <pc:sldMkLst>
          <pc:docMk/>
          <pc:sldMk cId="2902647541" sldId="1473"/>
        </pc:sldMkLst>
      </pc:sldChg>
      <pc:sldChg chg="modSp del mod">
        <pc:chgData name="Vikesh Chugani" userId="9c759398cfaae00f" providerId="LiveId" clId="{07CA10FD-78FC-4FDA-8BEE-577F158A1396}" dt="2024-08-08T17:47:37.762" v="62912" actId="47"/>
        <pc:sldMkLst>
          <pc:docMk/>
          <pc:sldMk cId="2695860754" sldId="1474"/>
        </pc:sldMkLst>
      </pc:sldChg>
      <pc:sldChg chg="mod modShow">
        <pc:chgData name="Vikesh Chugani" userId="9c759398cfaae00f" providerId="LiveId" clId="{07CA10FD-78FC-4FDA-8BEE-577F158A1396}" dt="2024-08-08T17:47:30.926" v="62909" actId="729"/>
        <pc:sldMkLst>
          <pc:docMk/>
          <pc:sldMk cId="3213568042" sldId="1477"/>
        </pc:sldMkLst>
      </pc:sldChg>
      <pc:sldChg chg="mod modShow">
        <pc:chgData name="Vikesh Chugani" userId="9c759398cfaae00f" providerId="LiveId" clId="{07CA10FD-78FC-4FDA-8BEE-577F158A1396}" dt="2024-08-08T17:47:32.575" v="62910" actId="729"/>
        <pc:sldMkLst>
          <pc:docMk/>
          <pc:sldMk cId="601220448" sldId="1478"/>
        </pc:sldMkLst>
      </pc:sldChg>
      <pc:sldChg chg="addSp modSp del mod">
        <pc:chgData name="Vikesh Chugani" userId="9c759398cfaae00f" providerId="LiveId" clId="{07CA10FD-78FC-4FDA-8BEE-577F158A1396}" dt="2024-07-19T12:46:26.572" v="4093" actId="47"/>
        <pc:sldMkLst>
          <pc:docMk/>
          <pc:sldMk cId="1489384975" sldId="1481"/>
        </pc:sldMkLst>
      </pc:sldChg>
      <pc:sldChg chg="del">
        <pc:chgData name="Vikesh Chugani" userId="9c759398cfaae00f" providerId="LiveId" clId="{07CA10FD-78FC-4FDA-8BEE-577F158A1396}" dt="2024-08-08T17:47:53.087" v="62915" actId="47"/>
        <pc:sldMkLst>
          <pc:docMk/>
          <pc:sldMk cId="3973682287" sldId="1571"/>
        </pc:sldMkLst>
      </pc:sldChg>
      <pc:sldChg chg="del">
        <pc:chgData name="Vikesh Chugani" userId="9c759398cfaae00f" providerId="LiveId" clId="{07CA10FD-78FC-4FDA-8BEE-577F158A1396}" dt="2024-08-08T17:47:51.751" v="62914" actId="47"/>
        <pc:sldMkLst>
          <pc:docMk/>
          <pc:sldMk cId="1111055924" sldId="1578"/>
        </pc:sldMkLst>
      </pc:sldChg>
      <pc:sldChg chg="del">
        <pc:chgData name="Vikesh Chugani" userId="9c759398cfaae00f" providerId="LiveId" clId="{07CA10FD-78FC-4FDA-8BEE-577F158A1396}" dt="2024-07-28T21:26:33.788" v="16798" actId="47"/>
        <pc:sldMkLst>
          <pc:docMk/>
          <pc:sldMk cId="502810867" sldId="1618"/>
        </pc:sldMkLst>
      </pc:sldChg>
      <pc:sldChg chg="modSp mod">
        <pc:chgData name="Vikesh Chugani" userId="9c759398cfaae00f" providerId="LiveId" clId="{07CA10FD-78FC-4FDA-8BEE-577F158A1396}" dt="2024-07-19T11:58:25.722" v="3"/>
        <pc:sldMkLst>
          <pc:docMk/>
          <pc:sldMk cId="1658367357" sldId="1639"/>
        </pc:sldMkLst>
      </pc:sldChg>
      <pc:sldChg chg="addSp delSp modSp del mod">
        <pc:chgData name="Vikesh Chugani" userId="9c759398cfaae00f" providerId="LiveId" clId="{07CA10FD-78FC-4FDA-8BEE-577F158A1396}" dt="2024-07-28T21:41:39.120" v="31527" actId="47"/>
        <pc:sldMkLst>
          <pc:docMk/>
          <pc:sldMk cId="769778329" sldId="1647"/>
        </pc:sldMkLst>
      </pc:sldChg>
      <pc:sldChg chg="addSp modSp mod">
        <pc:chgData name="Vikesh Chugani" userId="9c759398cfaae00f" providerId="LiveId" clId="{07CA10FD-78FC-4FDA-8BEE-577F158A1396}" dt="2024-07-19T12:14:13.724" v="340" actId="403"/>
        <pc:sldMkLst>
          <pc:docMk/>
          <pc:sldMk cId="3507828339" sldId="1647"/>
        </pc:sldMkLst>
      </pc:sldChg>
      <pc:sldChg chg="modNotesTx">
        <pc:chgData name="Vikesh Chugani" userId="9c759398cfaae00f" providerId="LiveId" clId="{07CA10FD-78FC-4FDA-8BEE-577F158A1396}" dt="2024-08-15T14:59:46.741" v="101909" actId="20577"/>
        <pc:sldMkLst>
          <pc:docMk/>
          <pc:sldMk cId="610267048" sldId="1653"/>
        </pc:sldMkLst>
      </pc:sldChg>
      <pc:sldChg chg="addSp delSp modSp del mod">
        <pc:chgData name="Vikesh Chugani" userId="9c759398cfaae00f" providerId="LiveId" clId="{07CA10FD-78FC-4FDA-8BEE-577F158A1396}" dt="2024-08-08T15:29:39.703" v="48258" actId="47"/>
        <pc:sldMkLst>
          <pc:docMk/>
          <pc:sldMk cId="291619031" sldId="1654"/>
        </pc:sldMkLst>
      </pc:sldChg>
      <pc:sldChg chg="modSp mod">
        <pc:chgData name="Vikesh Chugani" userId="9c759398cfaae00f" providerId="LiveId" clId="{07CA10FD-78FC-4FDA-8BEE-577F158A1396}" dt="2024-07-19T12:10:26.004" v="144" actId="20577"/>
        <pc:sldMkLst>
          <pc:docMk/>
          <pc:sldMk cId="1102206942" sldId="1656"/>
        </pc:sldMkLst>
      </pc:sldChg>
      <pc:sldChg chg="addSp delSp modSp mod modNotesTx">
        <pc:chgData name="Vikesh Chugani" userId="9c759398cfaae00f" providerId="LiveId" clId="{07CA10FD-78FC-4FDA-8BEE-577F158A1396}" dt="2024-08-19T11:08:22.184" v="105608" actId="20577"/>
        <pc:sldMkLst>
          <pc:docMk/>
          <pc:sldMk cId="766010963" sldId="1678"/>
        </pc:sldMkLst>
      </pc:sldChg>
      <pc:sldChg chg="modSp del mod modShow">
        <pc:chgData name="Vikesh Chugani" userId="9c759398cfaae00f" providerId="LiveId" clId="{07CA10FD-78FC-4FDA-8BEE-577F158A1396}" dt="2024-08-15T15:37:37.400" v="103641" actId="47"/>
        <pc:sldMkLst>
          <pc:docMk/>
          <pc:sldMk cId="2009943825" sldId="1682"/>
        </pc:sldMkLst>
      </pc:sldChg>
      <pc:sldChg chg="addSp delSp modSp add del mod ord modShow modNotesTx">
        <pc:chgData name="Vikesh Chugani" userId="9c759398cfaae00f" providerId="LiveId" clId="{07CA10FD-78FC-4FDA-8BEE-577F158A1396}" dt="2024-08-15T15:36:58.501" v="103627"/>
        <pc:sldMkLst>
          <pc:docMk/>
          <pc:sldMk cId="4022447760" sldId="1690"/>
        </pc:sldMkLst>
      </pc:sldChg>
      <pc:sldChg chg="ord">
        <pc:chgData name="Vikesh Chugani" userId="9c759398cfaae00f" providerId="LiveId" clId="{07CA10FD-78FC-4FDA-8BEE-577F158A1396}" dt="2024-07-19T12:11:31.423" v="237"/>
        <pc:sldMkLst>
          <pc:docMk/>
          <pc:sldMk cId="787779498" sldId="1692"/>
        </pc:sldMkLst>
      </pc:sldChg>
      <pc:sldChg chg="ord modNotesTx">
        <pc:chgData name="Vikesh Chugani" userId="9c759398cfaae00f" providerId="LiveId" clId="{07CA10FD-78FC-4FDA-8BEE-577F158A1396}" dt="2024-08-19T11:37:35.344" v="106049" actId="20577"/>
        <pc:sldMkLst>
          <pc:docMk/>
          <pc:sldMk cId="759465604" sldId="1693"/>
        </pc:sldMkLst>
      </pc:sldChg>
      <pc:sldChg chg="ord modNotesTx">
        <pc:chgData name="Vikesh Chugani" userId="9c759398cfaae00f" providerId="LiveId" clId="{07CA10FD-78FC-4FDA-8BEE-577F158A1396}" dt="2024-08-19T11:38:34.006" v="106050"/>
        <pc:sldMkLst>
          <pc:docMk/>
          <pc:sldMk cId="2564190797" sldId="1694"/>
        </pc:sldMkLst>
      </pc:sldChg>
      <pc:sldChg chg="addSp delSp modSp mod ord modNotesTx">
        <pc:chgData name="Vikesh Chugani" userId="9c759398cfaae00f" providerId="LiveId" clId="{07CA10FD-78FC-4FDA-8BEE-577F158A1396}" dt="2024-08-19T11:40:05.549" v="106252" actId="20577"/>
        <pc:sldMkLst>
          <pc:docMk/>
          <pc:sldMk cId="3983337660" sldId="1695"/>
        </pc:sldMkLst>
      </pc:sldChg>
      <pc:sldChg chg="del mod modShow">
        <pc:chgData name="Vikesh Chugani" userId="9c759398cfaae00f" providerId="LiveId" clId="{07CA10FD-78FC-4FDA-8BEE-577F158A1396}" dt="2024-08-15T15:37:29.882" v="103638" actId="47"/>
        <pc:sldMkLst>
          <pc:docMk/>
          <pc:sldMk cId="112850126" sldId="1697"/>
        </pc:sldMkLst>
      </pc:sldChg>
      <pc:sldChg chg="addSp modSp del mod">
        <pc:chgData name="Vikesh Chugani" userId="9c759398cfaae00f" providerId="LiveId" clId="{07CA10FD-78FC-4FDA-8BEE-577F158A1396}" dt="2024-08-08T17:56:48.326" v="63011" actId="47"/>
        <pc:sldMkLst>
          <pc:docMk/>
          <pc:sldMk cId="1282221444" sldId="1698"/>
        </pc:sldMkLst>
      </pc:sldChg>
      <pc:sldChg chg="ord">
        <pc:chgData name="Vikesh Chugani" userId="9c759398cfaae00f" providerId="LiveId" clId="{07CA10FD-78FC-4FDA-8BEE-577F158A1396}" dt="2024-08-13T15:52:04.580" v="99791"/>
        <pc:sldMkLst>
          <pc:docMk/>
          <pc:sldMk cId="2509261614" sldId="1699"/>
        </pc:sldMkLst>
      </pc:sldChg>
      <pc:sldChg chg="modNotesTx">
        <pc:chgData name="Vikesh Chugani" userId="9c759398cfaae00f" providerId="LiveId" clId="{07CA10FD-78FC-4FDA-8BEE-577F158A1396}" dt="2024-08-19T11:15:42.720" v="105750" actId="20577"/>
        <pc:sldMkLst>
          <pc:docMk/>
          <pc:sldMk cId="2964524841" sldId="1700"/>
        </pc:sldMkLst>
      </pc:sldChg>
      <pc:sldChg chg="ord">
        <pc:chgData name="Vikesh Chugani" userId="9c759398cfaae00f" providerId="LiveId" clId="{07CA10FD-78FC-4FDA-8BEE-577F158A1396}" dt="2024-07-28T20:30:53.771" v="8003"/>
        <pc:sldMkLst>
          <pc:docMk/>
          <pc:sldMk cId="3138668389" sldId="1700"/>
        </pc:sldMkLst>
      </pc:sldChg>
      <pc:sldChg chg="modSp mod">
        <pc:chgData name="Vikesh Chugani" userId="9c759398cfaae00f" providerId="LiveId" clId="{07CA10FD-78FC-4FDA-8BEE-577F158A1396}" dt="2024-08-15T15:34:55.575" v="103617"/>
        <pc:sldMkLst>
          <pc:docMk/>
          <pc:sldMk cId="2349657795" sldId="1794"/>
        </pc:sldMkLst>
      </pc:sldChg>
      <pc:sldChg chg="del ord">
        <pc:chgData name="Vikesh Chugani" userId="9c759398cfaae00f" providerId="LiveId" clId="{07CA10FD-78FC-4FDA-8BEE-577F158A1396}" dt="2024-08-08T17:49:46.312" v="62931" actId="47"/>
        <pc:sldMkLst>
          <pc:docMk/>
          <pc:sldMk cId="542501198" sldId="1842"/>
        </pc:sldMkLst>
      </pc:sldChg>
      <pc:sldChg chg="modNotesTx">
        <pc:chgData name="Vikesh Chugani" userId="9c759398cfaae00f" providerId="LiveId" clId="{07CA10FD-78FC-4FDA-8BEE-577F158A1396}" dt="2024-08-15T13:26:49.001" v="100017" actId="20577"/>
        <pc:sldMkLst>
          <pc:docMk/>
          <pc:sldMk cId="1957612480" sldId="1843"/>
        </pc:sldMkLst>
      </pc:sldChg>
      <pc:sldChg chg="addSp modSp mod modShow">
        <pc:chgData name="Vikesh Chugani" userId="9c759398cfaae00f" providerId="LiveId" clId="{07CA10FD-78FC-4FDA-8BEE-577F158A1396}" dt="2024-07-19T15:10:11.361" v="6969" actId="729"/>
        <pc:sldMkLst>
          <pc:docMk/>
          <pc:sldMk cId="2967117034" sldId="1852"/>
        </pc:sldMkLst>
      </pc:sldChg>
      <pc:sldChg chg="addSp delSp modSp new del mod">
        <pc:chgData name="Vikesh Chugani" userId="9c759398cfaae00f" providerId="LiveId" clId="{07CA10FD-78FC-4FDA-8BEE-577F158A1396}" dt="2024-08-07T13:36:30.666" v="31535" actId="47"/>
        <pc:sldMkLst>
          <pc:docMk/>
          <pc:sldMk cId="1551945400" sldId="1854"/>
        </pc:sldMkLst>
      </pc:sldChg>
      <pc:sldChg chg="modSp new del mod">
        <pc:chgData name="Vikesh Chugani" userId="9c759398cfaae00f" providerId="LiveId" clId="{07CA10FD-78FC-4FDA-8BEE-577F158A1396}" dt="2024-08-08T17:47:58.557" v="62916" actId="47"/>
        <pc:sldMkLst>
          <pc:docMk/>
          <pc:sldMk cId="1377128013" sldId="1855"/>
        </pc:sldMkLst>
      </pc:sldChg>
      <pc:sldChg chg="addSp delSp modSp new mod modNotesTx">
        <pc:chgData name="Vikesh Chugani" userId="9c759398cfaae00f" providerId="LiveId" clId="{07CA10FD-78FC-4FDA-8BEE-577F158A1396}" dt="2024-08-19T10:48:11.875" v="104464" actId="20577"/>
        <pc:sldMkLst>
          <pc:docMk/>
          <pc:sldMk cId="2153535519" sldId="1856"/>
        </pc:sldMkLst>
      </pc:sldChg>
      <pc:sldChg chg="addSp delSp modSp del mod">
        <pc:chgData name="Vikesh Chugani" userId="9c759398cfaae00f" providerId="LiveId" clId="{07CA10FD-78FC-4FDA-8BEE-577F158A1396}" dt="2024-07-19T13:04:30.093" v="6450" actId="47"/>
        <pc:sldMkLst>
          <pc:docMk/>
          <pc:sldMk cId="2876582666" sldId="1857"/>
        </pc:sldMkLst>
      </pc:sldChg>
      <pc:sldChg chg="addSp delSp modSp new mod modNotesTx">
        <pc:chgData name="Vikesh Chugani" userId="9c759398cfaae00f" providerId="LiveId" clId="{07CA10FD-78FC-4FDA-8BEE-577F158A1396}" dt="2024-08-19T09:42:30.514" v="103667" actId="6549"/>
        <pc:sldMkLst>
          <pc:docMk/>
          <pc:sldMk cId="1138289792" sldId="1858"/>
        </pc:sldMkLst>
      </pc:sldChg>
      <pc:sldChg chg="addSp delSp modSp new mod modNotesTx">
        <pc:chgData name="Vikesh Chugani" userId="9c759398cfaae00f" providerId="LiveId" clId="{07CA10FD-78FC-4FDA-8BEE-577F158A1396}" dt="2024-08-19T10:51:38.945" v="104621" actId="6549"/>
        <pc:sldMkLst>
          <pc:docMk/>
          <pc:sldMk cId="3831877885" sldId="1859"/>
        </pc:sldMkLst>
      </pc:sldChg>
      <pc:sldChg chg="modSp del mod">
        <pc:chgData name="Vikesh Chugani" userId="9c759398cfaae00f" providerId="LiveId" clId="{07CA10FD-78FC-4FDA-8BEE-577F158A1396}" dt="2024-07-19T13:00:05.720" v="4232" actId="47"/>
        <pc:sldMkLst>
          <pc:docMk/>
          <pc:sldMk cId="952671564" sldId="1860"/>
        </pc:sldMkLst>
      </pc:sldChg>
      <pc:sldChg chg="addSp delSp modSp new mod modNotesTx">
        <pc:chgData name="Vikesh Chugani" userId="9c759398cfaae00f" providerId="LiveId" clId="{07CA10FD-78FC-4FDA-8BEE-577F158A1396}" dt="2024-08-12T15:21:55.681" v="78935" actId="20577"/>
        <pc:sldMkLst>
          <pc:docMk/>
          <pc:sldMk cId="1755524343" sldId="1861"/>
        </pc:sldMkLst>
      </pc:sldChg>
      <pc:sldChg chg="addSp delSp modSp new mod modNotesTx">
        <pc:chgData name="Vikesh Chugani" userId="9c759398cfaae00f" providerId="LiveId" clId="{07CA10FD-78FC-4FDA-8BEE-577F158A1396}" dt="2024-08-19T10:55:52.282" v="104857" actId="20577"/>
        <pc:sldMkLst>
          <pc:docMk/>
          <pc:sldMk cId="727476447" sldId="1862"/>
        </pc:sldMkLst>
      </pc:sldChg>
      <pc:sldChg chg="addSp delSp modSp new del mod">
        <pc:chgData name="Vikesh Chugani" userId="9c759398cfaae00f" providerId="LiveId" clId="{07CA10FD-78FC-4FDA-8BEE-577F158A1396}" dt="2024-08-08T16:43:55.814" v="55196" actId="47"/>
        <pc:sldMkLst>
          <pc:docMk/>
          <pc:sldMk cId="1863856400" sldId="1863"/>
        </pc:sldMkLst>
      </pc:sldChg>
      <pc:sldChg chg="addSp delSp modSp new mod ord modNotesTx">
        <pc:chgData name="Vikesh Chugani" userId="9c759398cfaae00f" providerId="LiveId" clId="{07CA10FD-78FC-4FDA-8BEE-577F158A1396}" dt="2024-08-19T11:02:15.843" v="105407" actId="33524"/>
        <pc:sldMkLst>
          <pc:docMk/>
          <pc:sldMk cId="214491966" sldId="1864"/>
        </pc:sldMkLst>
      </pc:sldChg>
      <pc:sldChg chg="modSp mod">
        <pc:chgData name="Vikesh Chugani" userId="9c759398cfaae00f" providerId="LiveId" clId="{07CA10FD-78FC-4FDA-8BEE-577F158A1396}" dt="2024-07-19T15:17:17.640" v="7090"/>
        <pc:sldMkLst>
          <pc:docMk/>
          <pc:sldMk cId="1015200121" sldId="1865"/>
        </pc:sldMkLst>
      </pc:sldChg>
      <pc:sldChg chg="addSp delSp modSp mod modNotesTx">
        <pc:chgData name="Vikesh Chugani" userId="9c759398cfaae00f" providerId="LiveId" clId="{07CA10FD-78FC-4FDA-8BEE-577F158A1396}" dt="2024-08-19T11:05:12.084" v="105482" actId="6549"/>
        <pc:sldMkLst>
          <pc:docMk/>
          <pc:sldMk cId="1353234795" sldId="1866"/>
        </pc:sldMkLst>
      </pc:sldChg>
      <pc:sldChg chg="addSp delSp modSp new del mod">
        <pc:chgData name="Vikesh Chugani" userId="9c759398cfaae00f" providerId="LiveId" clId="{07CA10FD-78FC-4FDA-8BEE-577F158A1396}" dt="2024-07-28T21:42:47.560" v="31530" actId="47"/>
        <pc:sldMkLst>
          <pc:docMk/>
          <pc:sldMk cId="1097553987" sldId="1868"/>
        </pc:sldMkLst>
      </pc:sldChg>
      <pc:sldChg chg="addSp delSp modSp new del mod">
        <pc:chgData name="Vikesh Chugani" userId="9c759398cfaae00f" providerId="LiveId" clId="{07CA10FD-78FC-4FDA-8BEE-577F158A1396}" dt="2024-07-28T21:42:48.079" v="31531" actId="47"/>
        <pc:sldMkLst>
          <pc:docMk/>
          <pc:sldMk cId="3513520408" sldId="1869"/>
        </pc:sldMkLst>
      </pc:sldChg>
      <pc:sldChg chg="addSp delSp modSp new del mod">
        <pc:chgData name="Vikesh Chugani" userId="9c759398cfaae00f" providerId="LiveId" clId="{07CA10FD-78FC-4FDA-8BEE-577F158A1396}" dt="2024-07-28T21:42:48.625" v="31532" actId="47"/>
        <pc:sldMkLst>
          <pc:docMk/>
          <pc:sldMk cId="2315137747" sldId="1870"/>
        </pc:sldMkLst>
      </pc:sldChg>
      <pc:sldChg chg="addSp modSp add del mod">
        <pc:chgData name="Vikesh Chugani" userId="9c759398cfaae00f" providerId="LiveId" clId="{07CA10FD-78FC-4FDA-8BEE-577F158A1396}" dt="2024-07-28T21:42:49.287" v="31533" actId="47"/>
        <pc:sldMkLst>
          <pc:docMk/>
          <pc:sldMk cId="3365398020" sldId="1871"/>
        </pc:sldMkLst>
      </pc:sldChg>
      <pc:sldChg chg="add del">
        <pc:chgData name="Vikesh Chugani" userId="9c759398cfaae00f" providerId="LiveId" clId="{07CA10FD-78FC-4FDA-8BEE-577F158A1396}" dt="2024-07-23T15:36:56.127" v="7293" actId="47"/>
        <pc:sldMkLst>
          <pc:docMk/>
          <pc:sldMk cId="2384868083" sldId="1872"/>
        </pc:sldMkLst>
      </pc:sldChg>
      <pc:sldChg chg="addSp delSp modSp new del mod">
        <pc:chgData name="Vikesh Chugani" userId="9c759398cfaae00f" providerId="LiveId" clId="{07CA10FD-78FC-4FDA-8BEE-577F158A1396}" dt="2024-08-07T13:36:29.963" v="31534" actId="47"/>
        <pc:sldMkLst>
          <pc:docMk/>
          <pc:sldMk cId="2560337621" sldId="1872"/>
        </pc:sldMkLst>
      </pc:sldChg>
      <pc:sldChg chg="modSp new mod">
        <pc:chgData name="Vikesh Chugani" userId="9c759398cfaae00f" providerId="LiveId" clId="{07CA10FD-78FC-4FDA-8BEE-577F158A1396}" dt="2024-07-23T23:12:01.485" v="7978" actId="20577"/>
        <pc:sldMkLst>
          <pc:docMk/>
          <pc:sldMk cId="913717002" sldId="1873"/>
        </pc:sldMkLst>
      </pc:sldChg>
      <pc:sldChg chg="modSp new del mod">
        <pc:chgData name="Vikesh Chugani" userId="9c759398cfaae00f" providerId="LiveId" clId="{07CA10FD-78FC-4FDA-8BEE-577F158A1396}" dt="2024-07-23T16:07:24.002" v="7723" actId="47"/>
        <pc:sldMkLst>
          <pc:docMk/>
          <pc:sldMk cId="1105721019" sldId="1873"/>
        </pc:sldMkLst>
      </pc:sldChg>
      <pc:sldChg chg="add del">
        <pc:chgData name="Vikesh Chugani" userId="9c759398cfaae00f" providerId="LiveId" clId="{07CA10FD-78FC-4FDA-8BEE-577F158A1396}" dt="2024-07-23T15:49:29.648" v="7327" actId="47"/>
        <pc:sldMkLst>
          <pc:docMk/>
          <pc:sldMk cId="1745122611" sldId="1873"/>
        </pc:sldMkLst>
      </pc:sldChg>
      <pc:sldChg chg="delSp modSp mod">
        <pc:chgData name="Vikesh Chugani" userId="9c759398cfaae00f" providerId="LiveId" clId="{07CA10FD-78FC-4FDA-8BEE-577F158A1396}" dt="2024-07-28T20:43:42.936" v="8204" actId="313"/>
        <pc:sldMkLst>
          <pc:docMk/>
          <pc:sldMk cId="1333497614" sldId="1874"/>
        </pc:sldMkLst>
      </pc:sldChg>
      <pc:sldChg chg="add del">
        <pc:chgData name="Vikesh Chugani" userId="9c759398cfaae00f" providerId="LiveId" clId="{07CA10FD-78FC-4FDA-8BEE-577F158A1396}" dt="2024-07-23T15:49:30.158" v="7328" actId="47"/>
        <pc:sldMkLst>
          <pc:docMk/>
          <pc:sldMk cId="2126125013" sldId="1874"/>
        </pc:sldMkLst>
      </pc:sldChg>
      <pc:sldChg chg="delSp modSp del mod ord modShow modNotesTx">
        <pc:chgData name="Vikesh Chugani" userId="9c759398cfaae00f" providerId="LiveId" clId="{07CA10FD-78FC-4FDA-8BEE-577F158A1396}" dt="2024-08-08T18:06:09.117" v="63131" actId="2696"/>
        <pc:sldMkLst>
          <pc:docMk/>
          <pc:sldMk cId="137675830" sldId="1876"/>
        </pc:sldMkLst>
      </pc:sldChg>
      <pc:sldChg chg="delSp modSp mod ord modShow modNotesTx">
        <pc:chgData name="Vikesh Chugani" userId="9c759398cfaae00f" providerId="LiveId" clId="{07CA10FD-78FC-4FDA-8BEE-577F158A1396}" dt="2024-08-15T15:00:57.433" v="102034" actId="20577"/>
        <pc:sldMkLst>
          <pc:docMk/>
          <pc:sldMk cId="135681167" sldId="1877"/>
        </pc:sldMkLst>
      </pc:sldChg>
      <pc:sldChg chg="delSp modSp del mod">
        <pc:chgData name="Vikesh Chugani" userId="9c759398cfaae00f" providerId="LiveId" clId="{07CA10FD-78FC-4FDA-8BEE-577F158A1396}" dt="2024-08-08T17:56:46.695" v="63010" actId="47"/>
        <pc:sldMkLst>
          <pc:docMk/>
          <pc:sldMk cId="3937811203" sldId="1878"/>
        </pc:sldMkLst>
      </pc:sldChg>
      <pc:sldChg chg="addSp delSp modSp add mod modNotesTx">
        <pc:chgData name="Vikesh Chugani" userId="9c759398cfaae00f" providerId="LiveId" clId="{07CA10FD-78FC-4FDA-8BEE-577F158A1396}" dt="2024-08-19T11:07:55.291" v="105607" actId="113"/>
        <pc:sldMkLst>
          <pc:docMk/>
          <pc:sldMk cId="3477707378" sldId="1879"/>
        </pc:sldMkLst>
      </pc:sldChg>
      <pc:sldChg chg="addSp delSp modSp add mod modNotesTx">
        <pc:chgData name="Vikesh Chugani" userId="9c759398cfaae00f" providerId="LiveId" clId="{07CA10FD-78FC-4FDA-8BEE-577F158A1396}" dt="2024-08-13T13:11:08.227" v="85829" actId="313"/>
        <pc:sldMkLst>
          <pc:docMk/>
          <pc:sldMk cId="265919042" sldId="1880"/>
        </pc:sldMkLst>
      </pc:sldChg>
      <pc:sldChg chg="modSp add mod modNotesTx">
        <pc:chgData name="Vikesh Chugani" userId="9c759398cfaae00f" providerId="LiveId" clId="{07CA10FD-78FC-4FDA-8BEE-577F158A1396}" dt="2024-08-19T11:13:23.640" v="105746" actId="20577"/>
        <pc:sldMkLst>
          <pc:docMk/>
          <pc:sldMk cId="1123741503" sldId="1881"/>
        </pc:sldMkLst>
      </pc:sldChg>
      <pc:sldChg chg="addSp delSp modSp add mod ord modShow modNotesTx">
        <pc:chgData name="Vikesh Chugani" userId="9c759398cfaae00f" providerId="LiveId" clId="{07CA10FD-78FC-4FDA-8BEE-577F158A1396}" dt="2024-08-19T11:30:29.552" v="105989" actId="20577"/>
        <pc:sldMkLst>
          <pc:docMk/>
          <pc:sldMk cId="1450417700" sldId="1882"/>
        </pc:sldMkLst>
      </pc:sldChg>
      <pc:sldChg chg="add mod ord modShow">
        <pc:chgData name="Vikesh Chugani" userId="9c759398cfaae00f" providerId="LiveId" clId="{07CA10FD-78FC-4FDA-8BEE-577F158A1396}" dt="2024-08-08T17:29:19.461" v="57061" actId="729"/>
        <pc:sldMkLst>
          <pc:docMk/>
          <pc:sldMk cId="1344727080" sldId="1883"/>
        </pc:sldMkLst>
      </pc:sldChg>
      <pc:sldChg chg="add del">
        <pc:chgData name="Vikesh Chugani" userId="9c759398cfaae00f" providerId="LiveId" clId="{07CA10FD-78FC-4FDA-8BEE-577F158A1396}" dt="2024-07-28T21:41:40.601" v="31528" actId="47"/>
        <pc:sldMkLst>
          <pc:docMk/>
          <pc:sldMk cId="2832478243" sldId="1884"/>
        </pc:sldMkLst>
      </pc:sldChg>
      <pc:sldChg chg="addSp delSp modSp del mod">
        <pc:chgData name="Vikesh Chugani" userId="9c759398cfaae00f" providerId="LiveId" clId="{07CA10FD-78FC-4FDA-8BEE-577F158A1396}" dt="2024-07-28T21:41:42.612" v="31529" actId="47"/>
        <pc:sldMkLst>
          <pc:docMk/>
          <pc:sldMk cId="1863545785" sldId="1885"/>
        </pc:sldMkLst>
      </pc:sldChg>
      <pc:sldChg chg="addSp delSp modSp new mod ord modNotesTx">
        <pc:chgData name="Vikesh Chugani" userId="9c759398cfaae00f" providerId="LiveId" clId="{07CA10FD-78FC-4FDA-8BEE-577F158A1396}" dt="2024-08-19T11:34:15.144" v="105993" actId="313"/>
        <pc:sldMkLst>
          <pc:docMk/>
          <pc:sldMk cId="1772530871" sldId="1886"/>
        </pc:sldMkLst>
      </pc:sldChg>
      <pc:sldChg chg="addSp delSp modSp mod ord">
        <pc:chgData name="Vikesh Chugani" userId="9c759398cfaae00f" providerId="LiveId" clId="{07CA10FD-78FC-4FDA-8BEE-577F158A1396}" dt="2024-08-08T17:58:24.292" v="63064"/>
        <pc:sldMkLst>
          <pc:docMk/>
          <pc:sldMk cId="1319048102" sldId="1888"/>
        </pc:sldMkLst>
      </pc:sldChg>
      <pc:sldChg chg="del">
        <pc:chgData name="Vikesh Chugani" userId="9c759398cfaae00f" providerId="LiveId" clId="{07CA10FD-78FC-4FDA-8BEE-577F158A1396}" dt="2024-08-08T17:47:50.410" v="62913" actId="47"/>
        <pc:sldMkLst>
          <pc:docMk/>
          <pc:sldMk cId="1220155948" sldId="1889"/>
        </pc:sldMkLst>
      </pc:sldChg>
      <pc:sldChg chg="addSp modSp add del mod modShow">
        <pc:chgData name="Vikesh Chugani" userId="9c759398cfaae00f" providerId="LiveId" clId="{07CA10FD-78FC-4FDA-8BEE-577F158A1396}" dt="2024-08-15T15:37:54.499" v="103644" actId="47"/>
        <pc:sldMkLst>
          <pc:docMk/>
          <pc:sldMk cId="1627674210" sldId="1890"/>
        </pc:sldMkLst>
      </pc:sldChg>
      <pc:sldChg chg="addSp delSp modSp add mod modNotesTx">
        <pc:chgData name="Vikesh Chugani" userId="9c759398cfaae00f" providerId="LiveId" clId="{07CA10FD-78FC-4FDA-8BEE-577F158A1396}" dt="2024-08-19T10:33:35.337" v="104156" actId="20577"/>
        <pc:sldMkLst>
          <pc:docMk/>
          <pc:sldMk cId="217827664" sldId="1891"/>
        </pc:sldMkLst>
      </pc:sldChg>
      <pc:sldChg chg="modSp add del mod modShow">
        <pc:chgData name="Vikesh Chugani" userId="9c759398cfaae00f" providerId="LiveId" clId="{07CA10FD-78FC-4FDA-8BEE-577F158A1396}" dt="2024-08-08T17:50:02.366" v="62936" actId="47"/>
        <pc:sldMkLst>
          <pc:docMk/>
          <pc:sldMk cId="469246864" sldId="1892"/>
        </pc:sldMkLst>
      </pc:sldChg>
      <pc:sldChg chg="modSp add mod modShow">
        <pc:chgData name="Vikesh Chugani" userId="9c759398cfaae00f" providerId="LiveId" clId="{07CA10FD-78FC-4FDA-8BEE-577F158A1396}" dt="2024-08-08T17:54:26.032" v="62975" actId="729"/>
        <pc:sldMkLst>
          <pc:docMk/>
          <pc:sldMk cId="1354936174" sldId="1892"/>
        </pc:sldMkLst>
      </pc:sldChg>
      <pc:sldChg chg="new del">
        <pc:chgData name="Vikesh Chugani" userId="9c759398cfaae00f" providerId="LiveId" clId="{07CA10FD-78FC-4FDA-8BEE-577F158A1396}" dt="2024-08-08T15:38:52.890" v="48358" actId="680"/>
        <pc:sldMkLst>
          <pc:docMk/>
          <pc:sldMk cId="2157348845" sldId="1892"/>
        </pc:sldMkLst>
      </pc:sldChg>
      <pc:sldMasterChg chg="addSp modSp modSldLayout">
        <pc:chgData name="Vikesh Chugani" userId="9c759398cfaae00f" providerId="LiveId" clId="{07CA10FD-78FC-4FDA-8BEE-577F158A1396}" dt="2024-07-19T12:30:24.374" v="760"/>
        <pc:sldMasterMkLst>
          <pc:docMk/>
          <pc:sldMasterMk cId="0" sldId="2147483648"/>
        </pc:sldMasterMkLst>
        <pc:sldLayoutChg chg="modSp">
          <pc:chgData name="Vikesh Chugani" userId="9c759398cfaae00f" providerId="LiveId" clId="{07CA10FD-78FC-4FDA-8BEE-577F158A1396}" dt="2024-07-19T12:30:16.108" v="758" actId="735"/>
          <pc:sldLayoutMkLst>
            <pc:docMk/>
            <pc:sldMasterMk cId="0" sldId="2147483648"/>
            <pc:sldLayoutMk cId="2650031198" sldId="2147483660"/>
          </pc:sldLayoutMkLst>
        </pc:sldLayoutChg>
      </pc:sldMasterChg>
      <pc:sldMasterChg chg="modSp del mod delSldLayout modSldLayout">
        <pc:chgData name="Vikesh Chugani" userId="9c759398cfaae00f" providerId="LiveId" clId="{07CA10FD-78FC-4FDA-8BEE-577F158A1396}" dt="2024-07-19T12:33:43.881" v="1216" actId="47"/>
        <pc:sldMasterMkLst>
          <pc:docMk/>
          <pc:sldMasterMk cId="1579033688" sldId="2147483666"/>
        </pc:sldMasterMkLst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462366596" sldId="2147483667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4022219360" sldId="2147483668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1633117899" sldId="2147483669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901424272" sldId="2147483670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3597481025" sldId="2147483671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595818451" sldId="2147483672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4171967903" sldId="2147483673"/>
          </pc:sldLayoutMkLst>
        </pc:sldLayoutChg>
        <pc:sldLayoutChg chg="modSp del mod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180363748" sldId="2147483674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573517335" sldId="2147483675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386903512" sldId="2147483676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1498638064" sldId="2147483677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1515115822" sldId="2147483678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190867172" sldId="2147483679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518509433" sldId="2147483680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1900914480" sldId="2147483681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923700162" sldId="2147483682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1082289380" sldId="2147483683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560146609" sldId="2147483684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655981552" sldId="2147483685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725708943" sldId="2147483686"/>
          </pc:sldLayoutMkLst>
        </pc:sldLayoutChg>
      </pc:sldMasterChg>
      <pc:sldMasterChg chg="modSp del mod delSldLayout modSldLayout">
        <pc:chgData name="Vikesh Chugani" userId="9c759398cfaae00f" providerId="LiveId" clId="{07CA10FD-78FC-4FDA-8BEE-577F158A1396}" dt="2024-07-19T13:04:30.093" v="6450" actId="47"/>
        <pc:sldMasterMkLst>
          <pc:docMk/>
          <pc:sldMasterMk cId="1909122202" sldId="2147483666"/>
        </pc:sldMasterMkLst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2671390538" sldId="2147483667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3363176023" sldId="2147483668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2440102395" sldId="2147483669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1955358508" sldId="2147483670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3652227891" sldId="2147483671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2637795562" sldId="2147483672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1828162060" sldId="2147483673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1796103398" sldId="2147483674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2285610572" sldId="2147483675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834004801" sldId="2147483676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3954391817" sldId="2147483677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3637555569" sldId="2147483678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2686124459" sldId="2147483679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1204601505" sldId="2147483680"/>
          </pc:sldLayoutMkLst>
        </pc:sldLayoutChg>
        <pc:sldLayoutChg chg="addSp delSp modSp del mod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3237472523" sldId="2147483681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3553034343" sldId="2147483682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3306526799" sldId="2147483683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1759473570" sldId="2147483684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3926027830" sldId="2147483685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4225658433" sldId="2147483686"/>
          </pc:sldLayoutMkLst>
        </pc:sldLayoutChg>
      </pc:sldMasterChg>
      <pc:sldMasterChg chg="modSp mod">
        <pc:chgData name="Vikesh Chugani" userId="9c759398cfaae00f" providerId="LiveId" clId="{07CA10FD-78FC-4FDA-8BEE-577F158A1396}" dt="2024-07-19T15:17:17.640" v="7092"/>
        <pc:sldMasterMkLst>
          <pc:docMk/>
          <pc:sldMasterMk cId="2844095810" sldId="2147483666"/>
        </pc:sldMasterMkLst>
      </pc:sldMasterChg>
      <pc:sldMasterChg chg="modSp del mod delSldLayout">
        <pc:chgData name="Vikesh Chugani" userId="9c759398cfaae00f" providerId="LiveId" clId="{07CA10FD-78FC-4FDA-8BEE-577F158A1396}" dt="2024-07-19T13:00:05.720" v="4232" actId="47"/>
        <pc:sldMasterMkLst>
          <pc:docMk/>
          <pc:sldMasterMk cId="2726763676" sldId="2147483687"/>
        </pc:sldMasterMkLst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1594234407" sldId="2147483688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2090348757" sldId="2147483689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1707561176" sldId="2147483690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4273812931" sldId="2147483691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764694329" sldId="2147483692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4058355902" sldId="2147483693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883120690" sldId="2147483694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2972699257" sldId="2147483695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982974772" sldId="2147483696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3542238232" sldId="2147483697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3305458030" sldId="2147483698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3475700403" sldId="2147483699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2680932538" sldId="2147483700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434194311" sldId="2147483701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3042295920" sldId="2147483702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945246015" sldId="2147483703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3807967727" sldId="2147483704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514892213" sldId="2147483705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2926450685" sldId="2147483706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3738976418" sldId="2147483707"/>
          </pc:sldLayoutMkLst>
        </pc:sldLayoutChg>
      </pc:sldMasterChg>
      <pc:sldMasterChg chg="add del addSldLayout delSldLayout">
        <pc:chgData name="Vikesh Chugani" userId="9c759398cfaae00f" providerId="LiveId" clId="{07CA10FD-78FC-4FDA-8BEE-577F158A1396}" dt="2024-08-15T15:36:56.919" v="103620" actId="47"/>
        <pc:sldMasterMkLst>
          <pc:docMk/>
          <pc:sldMasterMk cId="2905603714" sldId="2147483687"/>
        </pc:sldMasterMkLst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1984721469" sldId="2147483688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2446564466" sldId="2147483689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177772682" sldId="2147483690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699606475" sldId="2147483691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2335939687" sldId="2147483692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3851539813" sldId="2147483693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46355659" sldId="2147483694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2709306815" sldId="2147483695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791754848" sldId="2147483696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4102353142" sldId="2147483697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739430249" sldId="2147483698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2373335450" sldId="2147483699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3323031849" sldId="2147483700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2781935230" sldId="2147483701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1664837060" sldId="2147483702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11523446" sldId="2147483703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4123585782" sldId="2147483704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1090486860" sldId="2147483705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3278099162" sldId="2147483706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1051220908" sldId="2147483707"/>
          </pc:sldLayoutMkLst>
        </pc:sldLayoutChg>
      </pc:sldMasterChg>
      <pc:sldMasterChg chg="del delSldLayout">
        <pc:chgData name="Vikesh Chugani" userId="9c759398cfaae00f" providerId="LiveId" clId="{07CA10FD-78FC-4FDA-8BEE-577F158A1396}" dt="2024-08-08T17:47:53.087" v="62915" actId="47"/>
        <pc:sldMasterMkLst>
          <pc:docMk/>
          <pc:sldMasterMk cId="1589499362" sldId="2147483708"/>
        </pc:sldMasterMkLst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796899449" sldId="2147483709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1342602065" sldId="2147483710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3461493368" sldId="2147483711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795877661" sldId="2147483712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436031103" sldId="2147483713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155797770" sldId="2147483714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149046182" sldId="2147483715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59066943" sldId="2147483716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3117250694" sldId="2147483717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112018610" sldId="2147483718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642323449" sldId="2147483719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990222692" sldId="2147483720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948507090" sldId="2147483721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165225466" sldId="2147483722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102772483" sldId="2147483723"/>
          </pc:sldLayoutMkLst>
        </pc:sldLayoutChg>
      </pc:sldMasterChg>
      <pc:sldMasterChg chg="modSp del mod delSldLayout">
        <pc:chgData name="Vikesh Chugani" userId="9c759398cfaae00f" providerId="LiveId" clId="{07CA10FD-78FC-4FDA-8BEE-577F158A1396}" dt="2024-07-28T21:41:42.612" v="31529" actId="47"/>
        <pc:sldMasterMkLst>
          <pc:docMk/>
          <pc:sldMasterMk cId="3616899536" sldId="2147483708"/>
        </pc:sldMasterMkLst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31982571" sldId="2147483709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1191501903" sldId="2147483710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1286402473" sldId="2147483711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3396297618" sldId="2147483712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3852556807" sldId="2147483713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3636182432" sldId="2147483714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612976878" sldId="2147483715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207504165" sldId="2147483716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1595893908" sldId="2147483717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229470667" sldId="2147483718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311254777" sldId="2147483719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1132381043" sldId="2147483720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311942861" sldId="2147483721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657642055" sldId="2147483722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1322160517" sldId="2147483723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1543182333" sldId="2147483724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2103882074" sldId="2147483725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3863751195" sldId="2147483726"/>
          </pc:sldLayoutMkLst>
        </pc:sldLayoutChg>
      </pc:sldMasterChg>
      <pc:sldMasterChg chg="del delSldLayout">
        <pc:chgData name="Vikesh Chugani" userId="9c759398cfaae00f" providerId="LiveId" clId="{07CA10FD-78FC-4FDA-8BEE-577F158A1396}" dt="2024-08-08T17:47:51.751" v="62914" actId="47"/>
        <pc:sldMasterMkLst>
          <pc:docMk/>
          <pc:sldMasterMk cId="532587465" sldId="2147483724"/>
        </pc:sldMasterMkLst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2272593621" sldId="2147483725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79193923" sldId="2147483726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715742150" sldId="2147483727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924340000" sldId="2147483728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840197645" sldId="2147483729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217628071" sldId="2147483730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2866977850" sldId="2147483731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852678511" sldId="2147483732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15241841" sldId="2147483733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4063162628" sldId="2147483734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551026082" sldId="2147483735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2938397133" sldId="2147483736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870909899" sldId="2147483737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1425218408" sldId="2147483738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274774741" sldId="2147483739"/>
          </pc:sldLayoutMkLst>
        </pc:sldLayoutChg>
      </pc:sldMasterChg>
      <pc:sldMasterChg chg="del delSldLayout">
        <pc:chgData name="Vikesh Chugani" userId="9c759398cfaae00f" providerId="LiveId" clId="{07CA10FD-78FC-4FDA-8BEE-577F158A1396}" dt="2024-08-15T15:37:36.256" v="103640" actId="47"/>
        <pc:sldMasterMkLst>
          <pc:docMk/>
          <pc:sldMasterMk cId="2703253271" sldId="2147483740"/>
        </pc:sldMasterMkLst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1726185083" sldId="2147483741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3041737317" sldId="2147483742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44292829" sldId="2147483743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2604389241" sldId="2147483744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916140126" sldId="2147483745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612067996" sldId="2147483746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3001133071" sldId="2147483747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1678909295" sldId="2147483748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2595852653" sldId="2147483749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2199843515" sldId="2147483750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1535289117" sldId="2147483751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3882273683" sldId="2147483752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1010015842" sldId="2147483753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3042333895" sldId="2147483754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2117573426" sldId="2147483755"/>
          </pc:sldLayoutMkLst>
        </pc:sldLayoutChg>
      </pc:sldMasterChg>
      <pc:sldMasterChg chg="del delSldLayout">
        <pc:chgData name="Vikesh Chugani" userId="9c759398cfaae00f" providerId="LiveId" clId="{07CA10FD-78FC-4FDA-8BEE-577F158A1396}" dt="2024-08-15T15:37:35.079" v="103639" actId="47"/>
        <pc:sldMasterMkLst>
          <pc:docMk/>
          <pc:sldMasterMk cId="245358422" sldId="2147483756"/>
        </pc:sldMasterMkLst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2437890987" sldId="2147483757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777729071" sldId="2147483758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2973685278" sldId="2147483759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1162380284" sldId="2147483760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3280060578" sldId="2147483761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4115684009" sldId="2147483762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2236782070" sldId="2147483763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2594100213" sldId="2147483764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2558476151" sldId="2147483765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164078520" sldId="2147483766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880483168" sldId="2147483767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1938978798" sldId="2147483768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319330948" sldId="2147483769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1090319250" sldId="2147483770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3629917004" sldId="2147483771"/>
          </pc:sldLayoutMkLst>
        </pc:sldLayoutChg>
      </pc:sldMasterChg>
      <pc:sldMasterChg chg="modSp mod">
        <pc:chgData name="Vikesh Chugani" userId="9c759398cfaae00f" providerId="LiveId" clId="{07CA10FD-78FC-4FDA-8BEE-577F158A1396}" dt="2024-08-15T15:34:55.568" v="103615"/>
        <pc:sldMasterMkLst>
          <pc:docMk/>
          <pc:sldMasterMk cId="533177781" sldId="2147483772"/>
        </pc:sldMasterMkLst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E8C4C6-63C0-4918-B94E-5BD8B58D0F90}" type="datetimeFigureOut">
              <a:rPr lang="en-GB" smtClean="0"/>
              <a:t>21/08/2025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C056A1-C206-433D-8407-CA5E6321BCE3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72955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9F57FF-C19F-4C13-8D33-E3160A304BC4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0022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C056A1-C206-433D-8407-CA5E6321BCE3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4385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aticon.com/" TargetMode="External"/><Relationship Id="rId2" Type="http://schemas.openxmlformats.org/officeDocument/2006/relationships/hyperlink" Target="https://slidesgo.com/" TargetMode="External"/><Relationship Id="rId1" Type="http://schemas.openxmlformats.org/officeDocument/2006/relationships/slideMaster" Target="../slideMasters/slideMaster2.xml"/><Relationship Id="rId4" Type="http://schemas.openxmlformats.org/officeDocument/2006/relationships/hyperlink" Target="https://www.freepik.com/" TargetMode="Externa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"/>
          <p:cNvSpPr>
            <a:spLocks noGrp="1"/>
          </p:cNvSpPr>
          <p:nvPr>
            <p:ph idx="1" hasCustomPrompt="1"/>
          </p:nvPr>
        </p:nvSpPr>
        <p:spPr>
          <a:xfrm>
            <a:off x="792001" y="2700001"/>
            <a:ext cx="16669597" cy="6210001"/>
          </a:xfrm>
          <a:prstGeom prst="rect">
            <a:avLst/>
          </a:prstGeom>
        </p:spPr>
        <p:txBody>
          <a:bodyPr vert="horz" lIns="108850" tIns="54425" rIns="108850" bIns="54425" rtlCol="0">
            <a:normAutofit/>
          </a:bodyPr>
          <a:lstStyle>
            <a:lvl1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FD9BD27-1F87-4142-ABA6-72E9C4A32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265003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240" userDrawn="1">
          <p15:clr>
            <a:srgbClr val="FBAE40"/>
          </p15:clr>
        </p15:guide>
        <p15:guide id="2" pos="576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105"/>
            <a:ext cx="16703999" cy="486000"/>
          </a:xfrm>
        </p:spPr>
        <p:txBody>
          <a:bodyPr>
            <a:noAutofit/>
          </a:bodyPr>
          <a:lstStyle>
            <a:lvl1pPr marL="0" indent="0" algn="ctr">
              <a:lnSpc>
                <a:spcPts val="3449"/>
              </a:lnSpc>
              <a:spcBef>
                <a:spcPts val="0"/>
              </a:spcBef>
              <a:buNone/>
              <a:defRPr sz="2400" b="1" baseline="0">
                <a:latin typeface="+mn-lt"/>
              </a:defRPr>
            </a:lvl1pPr>
            <a:lvl2pPr marL="671311" indent="-271381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2pPr>
            <a:lvl3pPr marL="942692" indent="-271381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3pPr>
            <a:lvl4pPr marL="1214073" indent="-271381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4pPr>
            <a:lvl5pPr marL="1485454" indent="-271381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5pPr>
          </a:lstStyle>
          <a:p>
            <a:pPr lvl="0"/>
            <a:r>
              <a:rPr lang="de-DE" dirty="0"/>
              <a:t>Grafik, Datum</a:t>
            </a:r>
          </a:p>
        </p:txBody>
      </p:sp>
      <p:sp>
        <p:nvSpPr>
          <p:cNvPr id="11" name="Titel 7"/>
          <p:cNvSpPr>
            <a:spLocks noGrp="1"/>
          </p:cNvSpPr>
          <p:nvPr>
            <p:ph type="title" hasCustomPrompt="1"/>
          </p:nvPr>
        </p:nvSpPr>
        <p:spPr>
          <a:xfrm>
            <a:off x="790577" y="327496"/>
            <a:ext cx="14114064" cy="927573"/>
          </a:xfrm>
          <a:prstGeom prst="rect">
            <a:avLst/>
          </a:prstGeom>
        </p:spPr>
        <p:txBody>
          <a:bodyPr/>
          <a:lstStyle>
            <a:lvl1pPr>
              <a:defRPr sz="2999" baseline="0">
                <a:solidFill>
                  <a:srgbClr val="4B4B4B"/>
                </a:solidFill>
                <a:latin typeface="+mj-lt"/>
              </a:defRPr>
            </a:lvl1pPr>
          </a:lstStyle>
          <a:p>
            <a:r>
              <a:rPr lang="de-DE" dirty="0"/>
              <a:t>Überschrift 20p Calibri</a:t>
            </a:r>
          </a:p>
        </p:txBody>
      </p:sp>
    </p:spTree>
    <p:extLst>
      <p:ext uri="{BB962C8B-B14F-4D97-AF65-F5344CB8AC3E}">
        <p14:creationId xmlns:p14="http://schemas.microsoft.com/office/powerpoint/2010/main" val="1843151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5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43" name="Google Shape;43;p5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5"/>
          <p:cNvSpPr txBox="1">
            <a:spLocks noGrp="1"/>
          </p:cNvSpPr>
          <p:nvPr>
            <p:ph type="subTitle" idx="1"/>
          </p:nvPr>
        </p:nvSpPr>
        <p:spPr>
          <a:xfrm>
            <a:off x="9690990" y="4978984"/>
            <a:ext cx="59472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45" name="Google Shape;45;p5"/>
          <p:cNvSpPr txBox="1">
            <a:spLocks noGrp="1"/>
          </p:cNvSpPr>
          <p:nvPr>
            <p:ph type="body" idx="2"/>
          </p:nvPr>
        </p:nvSpPr>
        <p:spPr>
          <a:xfrm>
            <a:off x="2602150" y="5779400"/>
            <a:ext cx="5862600" cy="1492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914400" lvl="0" indent="-6350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3200"/>
            </a:lvl1pPr>
            <a:lvl2pPr marL="1828800" lvl="1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2800">
                <a:solidFill>
                  <a:srgbClr val="FFFFFF"/>
                </a:solidFill>
              </a:defRPr>
            </a:lvl2pPr>
            <a:lvl3pPr marL="2743200" lvl="2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2800">
                <a:solidFill>
                  <a:srgbClr val="FFFFFF"/>
                </a:solidFill>
              </a:defRPr>
            </a:lvl3pPr>
            <a:lvl4pPr marL="3657600" lvl="3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800">
                <a:solidFill>
                  <a:srgbClr val="FFFFFF"/>
                </a:solidFill>
              </a:defRPr>
            </a:lvl4pPr>
            <a:lvl5pPr marL="4572000" lvl="4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2800">
                <a:solidFill>
                  <a:srgbClr val="FFFFFF"/>
                </a:solidFill>
              </a:defRPr>
            </a:lvl5pPr>
            <a:lvl6pPr marL="5486400" lvl="5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2800">
                <a:solidFill>
                  <a:srgbClr val="FFFFFF"/>
                </a:solidFill>
              </a:defRPr>
            </a:lvl6pPr>
            <a:lvl7pPr marL="6400800" lvl="6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800">
                <a:solidFill>
                  <a:srgbClr val="FFFFFF"/>
                </a:solidFill>
              </a:defRPr>
            </a:lvl7pPr>
            <a:lvl8pPr marL="7315200" lvl="7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2800">
                <a:solidFill>
                  <a:srgbClr val="FFFFFF"/>
                </a:solidFill>
              </a:defRPr>
            </a:lvl8pPr>
            <a:lvl9pPr marL="8229600" lvl="8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6" name="Google Shape;46;p5"/>
          <p:cNvSpPr txBox="1">
            <a:spLocks noGrp="1"/>
          </p:cNvSpPr>
          <p:nvPr>
            <p:ph type="body" idx="3"/>
          </p:nvPr>
        </p:nvSpPr>
        <p:spPr>
          <a:xfrm>
            <a:off x="9691000" y="5763500"/>
            <a:ext cx="5947200" cy="152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914400" lvl="0" indent="-6350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3200"/>
            </a:lvl1pPr>
            <a:lvl2pPr marL="1828800" lvl="1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2800">
                <a:solidFill>
                  <a:srgbClr val="FFFFFF"/>
                </a:solidFill>
              </a:defRPr>
            </a:lvl2pPr>
            <a:lvl3pPr marL="2743200" lvl="2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2800">
                <a:solidFill>
                  <a:srgbClr val="FFFFFF"/>
                </a:solidFill>
              </a:defRPr>
            </a:lvl3pPr>
            <a:lvl4pPr marL="3657600" lvl="3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800">
                <a:solidFill>
                  <a:srgbClr val="FFFFFF"/>
                </a:solidFill>
              </a:defRPr>
            </a:lvl4pPr>
            <a:lvl5pPr marL="4572000" lvl="4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2800">
                <a:solidFill>
                  <a:srgbClr val="FFFFFF"/>
                </a:solidFill>
              </a:defRPr>
            </a:lvl5pPr>
            <a:lvl6pPr marL="5486400" lvl="5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2800">
                <a:solidFill>
                  <a:srgbClr val="FFFFFF"/>
                </a:solidFill>
              </a:defRPr>
            </a:lvl6pPr>
            <a:lvl7pPr marL="6400800" lvl="6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800">
                <a:solidFill>
                  <a:srgbClr val="FFFFFF"/>
                </a:solidFill>
              </a:defRPr>
            </a:lvl7pPr>
            <a:lvl8pPr marL="7315200" lvl="7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2800">
                <a:solidFill>
                  <a:srgbClr val="FFFFFF"/>
                </a:solidFill>
              </a:defRPr>
            </a:lvl8pPr>
            <a:lvl9pPr marL="8229600" lvl="8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5"/>
          <p:cNvSpPr txBox="1"/>
          <p:nvPr/>
        </p:nvSpPr>
        <p:spPr>
          <a:xfrm>
            <a:off x="2662138" y="6025150"/>
            <a:ext cx="57426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3200"/>
              </a:spcAft>
              <a:buNone/>
            </a:pPr>
            <a:endParaRPr sz="3600">
              <a:solidFill>
                <a:srgbClr val="FFFFFF"/>
              </a:solidFill>
              <a:latin typeface="Raleway Black"/>
              <a:ea typeface="Raleway Black"/>
              <a:cs typeface="Raleway Black"/>
              <a:sym typeface="Raleway Black"/>
            </a:endParaRPr>
          </a:p>
        </p:txBody>
      </p:sp>
      <p:sp>
        <p:nvSpPr>
          <p:cNvPr id="48" name="Google Shape;48;p5"/>
          <p:cNvSpPr txBox="1">
            <a:spLocks noGrp="1"/>
          </p:cNvSpPr>
          <p:nvPr>
            <p:ph type="subTitle" idx="4"/>
          </p:nvPr>
        </p:nvSpPr>
        <p:spPr>
          <a:xfrm>
            <a:off x="2662138" y="4978984"/>
            <a:ext cx="57426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grpSp>
        <p:nvGrpSpPr>
          <p:cNvPr id="49" name="Google Shape;49;p5"/>
          <p:cNvGrpSpPr/>
          <p:nvPr/>
        </p:nvGrpSpPr>
        <p:grpSpPr>
          <a:xfrm>
            <a:off x="733400" y="1461300"/>
            <a:ext cx="16417376" cy="3682176"/>
            <a:chOff x="404800" y="730650"/>
            <a:chExt cx="8208688" cy="1841088"/>
          </a:xfrm>
        </p:grpSpPr>
        <p:sp>
          <p:nvSpPr>
            <p:cNvPr id="50" name="Google Shape;50;p5"/>
            <p:cNvSpPr/>
            <p:nvPr/>
          </p:nvSpPr>
          <p:spPr>
            <a:xfrm>
              <a:off x="536175" y="73065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51" name="Google Shape;51;p5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52" name="Google Shape;52;p5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53" name="Google Shape;53;p5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  <p:grpSp>
        <p:nvGrpSpPr>
          <p:cNvPr id="54" name="Google Shape;54;p5"/>
          <p:cNvGrpSpPr/>
          <p:nvPr/>
        </p:nvGrpSpPr>
        <p:grpSpPr>
          <a:xfrm rot="-2700000" flipH="1">
            <a:off x="1722669" y="6719837"/>
            <a:ext cx="1193838" cy="1792834"/>
            <a:chOff x="8358300" y="3550499"/>
            <a:chExt cx="596925" cy="896426"/>
          </a:xfrm>
        </p:grpSpPr>
        <p:sp>
          <p:nvSpPr>
            <p:cNvPr id="55" name="Google Shape;55;p5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56" name="Google Shape;56;p5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3126606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8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78" name="Google Shape;78;p8"/>
          <p:cNvSpPr txBox="1">
            <a:spLocks noGrp="1"/>
          </p:cNvSpPr>
          <p:nvPr>
            <p:ph type="title"/>
          </p:nvPr>
        </p:nvSpPr>
        <p:spPr>
          <a:xfrm>
            <a:off x="2776200" y="1052700"/>
            <a:ext cx="12735600" cy="818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79" name="Google Shape;79;p8"/>
          <p:cNvGrpSpPr/>
          <p:nvPr/>
        </p:nvGrpSpPr>
        <p:grpSpPr>
          <a:xfrm rot="10800000" flipH="1">
            <a:off x="2202312" y="506299"/>
            <a:ext cx="15223540" cy="5898358"/>
            <a:chOff x="404800" y="-890960"/>
            <a:chExt cx="8937149" cy="3462697"/>
          </a:xfrm>
        </p:grpSpPr>
        <p:sp>
          <p:nvSpPr>
            <p:cNvPr id="80" name="Google Shape;80;p8"/>
            <p:cNvSpPr/>
            <p:nvPr/>
          </p:nvSpPr>
          <p:spPr>
            <a:xfrm>
              <a:off x="8152149" y="-89096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81" name="Google Shape;81;p8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82" name="Google Shape;82;p8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83" name="Google Shape;83;p8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  <p:sp>
        <p:nvSpPr>
          <p:cNvPr id="84" name="Google Shape;84;p8"/>
          <p:cNvSpPr/>
          <p:nvPr/>
        </p:nvSpPr>
        <p:spPr>
          <a:xfrm rot="10800000" flipH="1">
            <a:off x="9493646" y="6606706"/>
            <a:ext cx="2026800" cy="2026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grpSp>
        <p:nvGrpSpPr>
          <p:cNvPr id="85" name="Google Shape;85;p8"/>
          <p:cNvGrpSpPr/>
          <p:nvPr/>
        </p:nvGrpSpPr>
        <p:grpSpPr>
          <a:xfrm rot="10800000">
            <a:off x="541501" y="1480219"/>
            <a:ext cx="17254650" cy="8178002"/>
            <a:chOff x="270750" y="253149"/>
            <a:chExt cx="8627325" cy="4089001"/>
          </a:xfrm>
        </p:grpSpPr>
        <p:sp>
          <p:nvSpPr>
            <p:cNvPr id="86" name="Google Shape;86;p8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87" name="Google Shape;87;p8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88" name="Google Shape;88;p8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89" name="Google Shape;89;p8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90" name="Google Shape;90;p8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37404339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0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grpSp>
        <p:nvGrpSpPr>
          <p:cNvPr id="103" name="Google Shape;103;p10"/>
          <p:cNvGrpSpPr/>
          <p:nvPr/>
        </p:nvGrpSpPr>
        <p:grpSpPr>
          <a:xfrm>
            <a:off x="541501" y="611912"/>
            <a:ext cx="14344850" cy="7028588"/>
            <a:chOff x="270750" y="305956"/>
            <a:chExt cx="7172425" cy="3514294"/>
          </a:xfrm>
        </p:grpSpPr>
        <p:sp>
          <p:nvSpPr>
            <p:cNvPr id="104" name="Google Shape;104;p10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05" name="Google Shape;105;p10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06" name="Google Shape;106;p10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  <p:sp>
        <p:nvSpPr>
          <p:cNvPr id="107" name="Google Shape;107;p10"/>
          <p:cNvSpPr txBox="1">
            <a:spLocks noGrp="1"/>
          </p:cNvSpPr>
          <p:nvPr>
            <p:ph type="body" idx="1"/>
          </p:nvPr>
        </p:nvSpPr>
        <p:spPr>
          <a:xfrm>
            <a:off x="2128350" y="7241950"/>
            <a:ext cx="7015800" cy="1210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914400" lvl="0" indent="-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446075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110" name="Google Shape;110;p11"/>
          <p:cNvSpPr txBox="1">
            <a:spLocks noGrp="1"/>
          </p:cNvSpPr>
          <p:nvPr>
            <p:ph type="title" hasCustomPrompt="1"/>
          </p:nvPr>
        </p:nvSpPr>
        <p:spPr>
          <a:xfrm>
            <a:off x="5232900" y="2974250"/>
            <a:ext cx="7822200" cy="296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00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24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24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24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24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24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24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24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24000"/>
            </a:lvl9pPr>
          </a:lstStyle>
          <a:p>
            <a:r>
              <a:t>xx%</a:t>
            </a:r>
          </a:p>
        </p:txBody>
      </p:sp>
      <p:sp>
        <p:nvSpPr>
          <p:cNvPr id="111" name="Google Shape;111;p11"/>
          <p:cNvSpPr txBox="1">
            <a:spLocks noGrp="1"/>
          </p:cNvSpPr>
          <p:nvPr>
            <p:ph type="body" idx="1"/>
          </p:nvPr>
        </p:nvSpPr>
        <p:spPr>
          <a:xfrm>
            <a:off x="2812400" y="6306950"/>
            <a:ext cx="11004000" cy="339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914400" lvl="0" indent="-685800" algn="ctr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1828800" lvl="1" indent="-6350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2743200" lvl="2" indent="-6350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3657600" lvl="3" indent="-6350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4572000" lvl="4" indent="-6350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5486400" lvl="5" indent="-6350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6400800" lvl="6" indent="-6350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7315200" lvl="7" indent="-6350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8229600" lvl="8" indent="-6350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12" name="Google Shape;112;p11"/>
          <p:cNvGrpSpPr/>
          <p:nvPr/>
        </p:nvGrpSpPr>
        <p:grpSpPr>
          <a:xfrm>
            <a:off x="541501" y="506299"/>
            <a:ext cx="17254650" cy="8178002"/>
            <a:chOff x="270750" y="253149"/>
            <a:chExt cx="8627325" cy="4089001"/>
          </a:xfrm>
        </p:grpSpPr>
        <p:sp>
          <p:nvSpPr>
            <p:cNvPr id="113" name="Google Shape;113;p11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14" name="Google Shape;114;p11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15" name="Google Shape;115;p11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16" name="Google Shape;116;p11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17" name="Google Shape;117;p11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39175179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86817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3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121" name="Google Shape;121;p13"/>
          <p:cNvSpPr txBox="1">
            <a:spLocks noGrp="1"/>
          </p:cNvSpPr>
          <p:nvPr>
            <p:ph type="ctrTitle"/>
          </p:nvPr>
        </p:nvSpPr>
        <p:spPr>
          <a:xfrm flipH="1">
            <a:off x="9490350" y="5582300"/>
            <a:ext cx="7210200" cy="934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40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40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40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40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40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40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40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40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22" name="Google Shape;122;p13"/>
          <p:cNvSpPr txBox="1">
            <a:spLocks noGrp="1"/>
          </p:cNvSpPr>
          <p:nvPr>
            <p:ph type="subTitle" idx="1"/>
          </p:nvPr>
        </p:nvSpPr>
        <p:spPr>
          <a:xfrm rot="-286" flipH="1">
            <a:off x="9490350" y="2711350"/>
            <a:ext cx="7210200" cy="2662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Titillium Web"/>
              <a:buNone/>
              <a:defRPr sz="40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23" name="Google Shape;123;p13"/>
          <p:cNvGrpSpPr/>
          <p:nvPr/>
        </p:nvGrpSpPr>
        <p:grpSpPr>
          <a:xfrm rot="10800000" flipH="1">
            <a:off x="541501" y="506298"/>
            <a:ext cx="17407050" cy="8877552"/>
            <a:chOff x="270750" y="-96626"/>
            <a:chExt cx="8703525" cy="4438776"/>
          </a:xfrm>
        </p:grpSpPr>
        <p:sp>
          <p:nvSpPr>
            <p:cNvPr id="124" name="Google Shape;124;p13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25" name="Google Shape;125;p13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26" name="Google Shape;126;p13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27" name="Google Shape;127;p13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28" name="Google Shape;128;p13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29" name="Google Shape;129;p13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4933372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Title and three columns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14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132" name="Google Shape;132;p14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3" name="Google Shape;133;p14"/>
          <p:cNvSpPr txBox="1">
            <a:spLocks noGrp="1"/>
          </p:cNvSpPr>
          <p:nvPr>
            <p:ph type="subTitle" idx="1"/>
          </p:nvPr>
        </p:nvSpPr>
        <p:spPr>
          <a:xfrm>
            <a:off x="2376830" y="5248466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4" name="Google Shape;134;p14"/>
          <p:cNvSpPr txBox="1">
            <a:spLocks noGrp="1"/>
          </p:cNvSpPr>
          <p:nvPr>
            <p:ph type="subTitle" idx="2"/>
          </p:nvPr>
        </p:nvSpPr>
        <p:spPr>
          <a:xfrm>
            <a:off x="12202760" y="5265856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5" name="Google Shape;135;p14"/>
          <p:cNvSpPr txBox="1">
            <a:spLocks noGrp="1"/>
          </p:cNvSpPr>
          <p:nvPr>
            <p:ph type="subTitle" idx="3"/>
          </p:nvPr>
        </p:nvSpPr>
        <p:spPr>
          <a:xfrm>
            <a:off x="7287542" y="5265856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6" name="Google Shape;136;p14"/>
          <p:cNvSpPr txBox="1">
            <a:spLocks noGrp="1"/>
          </p:cNvSpPr>
          <p:nvPr>
            <p:ph type="subTitle" idx="4"/>
          </p:nvPr>
        </p:nvSpPr>
        <p:spPr>
          <a:xfrm>
            <a:off x="1941250" y="5929060"/>
            <a:ext cx="4572000" cy="139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7" name="Google Shape;137;p14"/>
          <p:cNvSpPr txBox="1">
            <a:spLocks noGrp="1"/>
          </p:cNvSpPr>
          <p:nvPr>
            <p:ph type="subTitle" idx="5"/>
          </p:nvPr>
        </p:nvSpPr>
        <p:spPr>
          <a:xfrm>
            <a:off x="6851942" y="5929060"/>
            <a:ext cx="4572000" cy="139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subTitle" idx="6"/>
          </p:nvPr>
        </p:nvSpPr>
        <p:spPr>
          <a:xfrm>
            <a:off x="11767160" y="5929060"/>
            <a:ext cx="4572000" cy="139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39" name="Google Shape;139;p14"/>
          <p:cNvGrpSpPr/>
          <p:nvPr/>
        </p:nvGrpSpPr>
        <p:grpSpPr>
          <a:xfrm rot="10800000" flipH="1">
            <a:off x="541501" y="506298"/>
            <a:ext cx="17254650" cy="8432200"/>
            <a:chOff x="270750" y="126050"/>
            <a:chExt cx="8627325" cy="4216100"/>
          </a:xfrm>
        </p:grpSpPr>
        <p:sp>
          <p:nvSpPr>
            <p:cNvPr id="140" name="Google Shape;140;p14"/>
            <p:cNvSpPr/>
            <p:nvPr/>
          </p:nvSpPr>
          <p:spPr>
            <a:xfrm>
              <a:off x="320500" y="126050"/>
              <a:ext cx="725100" cy="725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43" name="Google Shape;143;p14"/>
            <p:cNvSpPr/>
            <p:nvPr/>
          </p:nvSpPr>
          <p:spPr>
            <a:xfrm>
              <a:off x="7443175" y="3463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44" name="Google Shape;144;p14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45" name="Google Shape;145;p14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34486036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Title and six columns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15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grpSp>
        <p:nvGrpSpPr>
          <p:cNvPr id="148" name="Google Shape;148;p15"/>
          <p:cNvGrpSpPr/>
          <p:nvPr/>
        </p:nvGrpSpPr>
        <p:grpSpPr>
          <a:xfrm>
            <a:off x="541501" y="506299"/>
            <a:ext cx="17254650" cy="8178002"/>
            <a:chOff x="270750" y="253149"/>
            <a:chExt cx="8627325" cy="4089001"/>
          </a:xfrm>
        </p:grpSpPr>
        <p:sp>
          <p:nvSpPr>
            <p:cNvPr id="149" name="Google Shape;149;p15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50" name="Google Shape;150;p15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51" name="Google Shape;151;p15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52" name="Google Shape;152;p15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53" name="Google Shape;153;p15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  <p:sp>
        <p:nvSpPr>
          <p:cNvPr id="154" name="Google Shape;154;p15"/>
          <p:cNvSpPr txBox="1">
            <a:spLocks noGrp="1"/>
          </p:cNvSpPr>
          <p:nvPr>
            <p:ph type="subTitle" idx="1"/>
          </p:nvPr>
        </p:nvSpPr>
        <p:spPr>
          <a:xfrm>
            <a:off x="2528338" y="3825526"/>
            <a:ext cx="4032000" cy="108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5" name="Google Shape;155;p15"/>
          <p:cNvSpPr txBox="1">
            <a:spLocks noGrp="1"/>
          </p:cNvSpPr>
          <p:nvPr>
            <p:ph type="subTitle" idx="2"/>
          </p:nvPr>
        </p:nvSpPr>
        <p:spPr>
          <a:xfrm>
            <a:off x="2693938" y="6132758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6" name="Google Shape;156;p15"/>
          <p:cNvSpPr txBox="1">
            <a:spLocks noGrp="1"/>
          </p:cNvSpPr>
          <p:nvPr>
            <p:ph type="subTitle" idx="3"/>
          </p:nvPr>
        </p:nvSpPr>
        <p:spPr>
          <a:xfrm>
            <a:off x="11900716" y="6132692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7" name="Google Shape;157;p15"/>
          <p:cNvSpPr txBox="1">
            <a:spLocks noGrp="1"/>
          </p:cNvSpPr>
          <p:nvPr>
            <p:ph type="subTitle" idx="4"/>
          </p:nvPr>
        </p:nvSpPr>
        <p:spPr>
          <a:xfrm>
            <a:off x="7297328" y="6132692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8" name="Google Shape;158;p15"/>
          <p:cNvSpPr txBox="1">
            <a:spLocks noGrp="1"/>
          </p:cNvSpPr>
          <p:nvPr>
            <p:ph type="subTitle" idx="5"/>
          </p:nvPr>
        </p:nvSpPr>
        <p:spPr>
          <a:xfrm>
            <a:off x="2693938" y="3256116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9" name="Google Shape;159;p15"/>
          <p:cNvSpPr txBox="1">
            <a:spLocks noGrp="1"/>
          </p:cNvSpPr>
          <p:nvPr>
            <p:ph type="subTitle" idx="6"/>
          </p:nvPr>
        </p:nvSpPr>
        <p:spPr>
          <a:xfrm>
            <a:off x="11900716" y="3261934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0" name="Google Shape;160;p15"/>
          <p:cNvSpPr txBox="1">
            <a:spLocks noGrp="1"/>
          </p:cNvSpPr>
          <p:nvPr>
            <p:ph type="subTitle" idx="7"/>
          </p:nvPr>
        </p:nvSpPr>
        <p:spPr>
          <a:xfrm>
            <a:off x="7297328" y="3261934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1" name="Google Shape;161;p15"/>
          <p:cNvSpPr txBox="1">
            <a:spLocks noGrp="1"/>
          </p:cNvSpPr>
          <p:nvPr>
            <p:ph type="subTitle" idx="8"/>
          </p:nvPr>
        </p:nvSpPr>
        <p:spPr>
          <a:xfrm>
            <a:off x="7131728" y="3825526"/>
            <a:ext cx="4032000" cy="108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2" name="Google Shape;162;p15"/>
          <p:cNvSpPr txBox="1">
            <a:spLocks noGrp="1"/>
          </p:cNvSpPr>
          <p:nvPr>
            <p:ph type="subTitle" idx="9"/>
          </p:nvPr>
        </p:nvSpPr>
        <p:spPr>
          <a:xfrm>
            <a:off x="11735116" y="3825526"/>
            <a:ext cx="4032000" cy="108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3" name="Google Shape;163;p15"/>
          <p:cNvSpPr txBox="1">
            <a:spLocks noGrp="1"/>
          </p:cNvSpPr>
          <p:nvPr>
            <p:ph type="subTitle" idx="13"/>
          </p:nvPr>
        </p:nvSpPr>
        <p:spPr>
          <a:xfrm>
            <a:off x="2524564" y="6700626"/>
            <a:ext cx="4032000" cy="108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4" name="Google Shape;164;p15"/>
          <p:cNvSpPr txBox="1">
            <a:spLocks noGrp="1"/>
          </p:cNvSpPr>
          <p:nvPr>
            <p:ph type="subTitle" idx="14"/>
          </p:nvPr>
        </p:nvSpPr>
        <p:spPr>
          <a:xfrm>
            <a:off x="7127952" y="6700626"/>
            <a:ext cx="4032000" cy="108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5" name="Google Shape;165;p15"/>
          <p:cNvSpPr txBox="1">
            <a:spLocks noGrp="1"/>
          </p:cNvSpPr>
          <p:nvPr>
            <p:ph type="subTitle" idx="15"/>
          </p:nvPr>
        </p:nvSpPr>
        <p:spPr>
          <a:xfrm>
            <a:off x="11731342" y="6700626"/>
            <a:ext cx="4032000" cy="108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6" name="Google Shape;166;p15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712717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Title and text 2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6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169" name="Google Shape;169;p16"/>
          <p:cNvSpPr txBox="1">
            <a:spLocks noGrp="1"/>
          </p:cNvSpPr>
          <p:nvPr>
            <p:ph type="title"/>
          </p:nvPr>
        </p:nvSpPr>
        <p:spPr>
          <a:xfrm flipH="1">
            <a:off x="9337550" y="2589300"/>
            <a:ext cx="7219200" cy="28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70" name="Google Shape;170;p16"/>
          <p:cNvSpPr txBox="1">
            <a:spLocks noGrp="1"/>
          </p:cNvSpPr>
          <p:nvPr>
            <p:ph type="subTitle" idx="1"/>
          </p:nvPr>
        </p:nvSpPr>
        <p:spPr>
          <a:xfrm flipH="1">
            <a:off x="9896750" y="5662500"/>
            <a:ext cx="6660000" cy="142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71" name="Google Shape;171;p16"/>
          <p:cNvGrpSpPr/>
          <p:nvPr/>
        </p:nvGrpSpPr>
        <p:grpSpPr>
          <a:xfrm rot="10800000" flipH="1">
            <a:off x="541501" y="506298"/>
            <a:ext cx="17254650" cy="8072388"/>
            <a:chOff x="270750" y="305956"/>
            <a:chExt cx="8627325" cy="4036194"/>
          </a:xfrm>
        </p:grpSpPr>
        <p:sp>
          <p:nvSpPr>
            <p:cNvPr id="172" name="Google Shape;172;p16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73" name="Google Shape;173;p16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74" name="Google Shape;174;p16"/>
            <p:cNvSpPr/>
            <p:nvPr/>
          </p:nvSpPr>
          <p:spPr>
            <a:xfrm>
              <a:off x="7218275" y="3605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75" name="Google Shape;175;p16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76" name="Google Shape;176;p16"/>
            <p:cNvSpPr/>
            <p:nvPr/>
          </p:nvSpPr>
          <p:spPr>
            <a:xfrm>
              <a:off x="2495713" y="3142275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77" name="Google Shape;177;p16"/>
            <p:cNvSpPr/>
            <p:nvPr/>
          </p:nvSpPr>
          <p:spPr>
            <a:xfrm>
              <a:off x="5245438" y="366306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78" name="Google Shape;178;p16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16857233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1">
  <p:cSld name="Title and four columns 1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17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181" name="Google Shape;181;p17"/>
          <p:cNvSpPr txBox="1">
            <a:spLocks noGrp="1"/>
          </p:cNvSpPr>
          <p:nvPr>
            <p:ph type="subTitle" idx="1"/>
          </p:nvPr>
        </p:nvSpPr>
        <p:spPr>
          <a:xfrm>
            <a:off x="5361300" y="4151350"/>
            <a:ext cx="3748800" cy="949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2" name="Google Shape;182;p17"/>
          <p:cNvSpPr txBox="1">
            <a:spLocks noGrp="1"/>
          </p:cNvSpPr>
          <p:nvPr>
            <p:ph type="subTitle" idx="2"/>
          </p:nvPr>
        </p:nvSpPr>
        <p:spPr>
          <a:xfrm>
            <a:off x="5132700" y="3353834"/>
            <a:ext cx="4206000" cy="88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3" name="Google Shape;183;p17"/>
          <p:cNvSpPr txBox="1">
            <a:spLocks noGrp="1"/>
          </p:cNvSpPr>
          <p:nvPr>
            <p:ph type="subTitle" idx="3"/>
          </p:nvPr>
        </p:nvSpPr>
        <p:spPr>
          <a:xfrm>
            <a:off x="12664050" y="3353834"/>
            <a:ext cx="4206000" cy="88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4" name="Google Shape;184;p17"/>
          <p:cNvSpPr txBox="1">
            <a:spLocks noGrp="1"/>
          </p:cNvSpPr>
          <p:nvPr>
            <p:ph type="subTitle" idx="4"/>
          </p:nvPr>
        </p:nvSpPr>
        <p:spPr>
          <a:xfrm>
            <a:off x="1417950" y="5482250"/>
            <a:ext cx="4206000" cy="88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5" name="Google Shape;185;p17"/>
          <p:cNvSpPr txBox="1">
            <a:spLocks noGrp="1"/>
          </p:cNvSpPr>
          <p:nvPr>
            <p:ph type="subTitle" idx="5"/>
          </p:nvPr>
        </p:nvSpPr>
        <p:spPr>
          <a:xfrm>
            <a:off x="8892150" y="5484818"/>
            <a:ext cx="4206000" cy="88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6" name="Google Shape;186;p17"/>
          <p:cNvSpPr txBox="1">
            <a:spLocks noGrp="1"/>
          </p:cNvSpPr>
          <p:nvPr>
            <p:ph type="subTitle" idx="6"/>
          </p:nvPr>
        </p:nvSpPr>
        <p:spPr>
          <a:xfrm>
            <a:off x="12892650" y="4151350"/>
            <a:ext cx="3748800" cy="949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7" name="Google Shape;187;p17"/>
          <p:cNvSpPr txBox="1">
            <a:spLocks noGrp="1"/>
          </p:cNvSpPr>
          <p:nvPr>
            <p:ph type="subTitle" idx="7"/>
          </p:nvPr>
        </p:nvSpPr>
        <p:spPr>
          <a:xfrm>
            <a:off x="1646550" y="6272512"/>
            <a:ext cx="3748800" cy="949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8" name="Google Shape;188;p17"/>
          <p:cNvSpPr txBox="1">
            <a:spLocks noGrp="1"/>
          </p:cNvSpPr>
          <p:nvPr>
            <p:ph type="subTitle" idx="8"/>
          </p:nvPr>
        </p:nvSpPr>
        <p:spPr>
          <a:xfrm>
            <a:off x="9120750" y="6272512"/>
            <a:ext cx="3748800" cy="949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9" name="Google Shape;189;p17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90" name="Google Shape;190;p17"/>
          <p:cNvGrpSpPr/>
          <p:nvPr/>
        </p:nvGrpSpPr>
        <p:grpSpPr>
          <a:xfrm>
            <a:off x="541501" y="611912"/>
            <a:ext cx="14344850" cy="7028588"/>
            <a:chOff x="270750" y="305956"/>
            <a:chExt cx="7172425" cy="3514294"/>
          </a:xfrm>
        </p:grpSpPr>
        <p:sp>
          <p:nvSpPr>
            <p:cNvPr id="191" name="Google Shape;191;p17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2" name="Google Shape;192;p17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3" name="Google Shape;193;p17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09508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Title and four columns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19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12" name="Google Shape;212;p19"/>
          <p:cNvSpPr txBox="1">
            <a:spLocks noGrp="1"/>
          </p:cNvSpPr>
          <p:nvPr>
            <p:ph type="title"/>
          </p:nvPr>
        </p:nvSpPr>
        <p:spPr>
          <a:xfrm>
            <a:off x="1847100" y="2531726"/>
            <a:ext cx="4381800" cy="895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3" name="Google Shape;213;p19"/>
          <p:cNvSpPr txBox="1">
            <a:spLocks noGrp="1"/>
          </p:cNvSpPr>
          <p:nvPr>
            <p:ph type="subTitle" idx="1"/>
          </p:nvPr>
        </p:nvSpPr>
        <p:spPr>
          <a:xfrm>
            <a:off x="1581300" y="3426250"/>
            <a:ext cx="4647600" cy="1128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4" name="Google Shape;214;p19"/>
          <p:cNvSpPr txBox="1">
            <a:spLocks noGrp="1"/>
          </p:cNvSpPr>
          <p:nvPr>
            <p:ph type="title" idx="2"/>
          </p:nvPr>
        </p:nvSpPr>
        <p:spPr>
          <a:xfrm>
            <a:off x="1847100" y="5336282"/>
            <a:ext cx="4381800" cy="895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5" name="Google Shape;215;p19"/>
          <p:cNvSpPr txBox="1">
            <a:spLocks noGrp="1"/>
          </p:cNvSpPr>
          <p:nvPr>
            <p:ph type="subTitle" idx="3"/>
          </p:nvPr>
        </p:nvSpPr>
        <p:spPr>
          <a:xfrm>
            <a:off x="1581300" y="6230836"/>
            <a:ext cx="4647600" cy="1128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6" name="Google Shape;216;p19"/>
          <p:cNvSpPr txBox="1">
            <a:spLocks noGrp="1"/>
          </p:cNvSpPr>
          <p:nvPr>
            <p:ph type="title" idx="4"/>
          </p:nvPr>
        </p:nvSpPr>
        <p:spPr>
          <a:xfrm>
            <a:off x="12059250" y="2531726"/>
            <a:ext cx="4381800" cy="895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7" name="Google Shape;217;p19"/>
          <p:cNvSpPr txBox="1">
            <a:spLocks noGrp="1"/>
          </p:cNvSpPr>
          <p:nvPr>
            <p:ph type="subTitle" idx="5"/>
          </p:nvPr>
        </p:nvSpPr>
        <p:spPr>
          <a:xfrm>
            <a:off x="12059250" y="3426250"/>
            <a:ext cx="4647600" cy="1128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8" name="Google Shape;218;p19"/>
          <p:cNvSpPr txBox="1">
            <a:spLocks noGrp="1"/>
          </p:cNvSpPr>
          <p:nvPr>
            <p:ph type="title" idx="6"/>
          </p:nvPr>
        </p:nvSpPr>
        <p:spPr>
          <a:xfrm>
            <a:off x="12059250" y="5336286"/>
            <a:ext cx="4381800" cy="895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9" name="Google Shape;219;p19"/>
          <p:cNvSpPr txBox="1">
            <a:spLocks noGrp="1"/>
          </p:cNvSpPr>
          <p:nvPr>
            <p:ph type="subTitle" idx="7"/>
          </p:nvPr>
        </p:nvSpPr>
        <p:spPr>
          <a:xfrm>
            <a:off x="12059250" y="6230836"/>
            <a:ext cx="4647600" cy="1128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20" name="Google Shape;220;p19"/>
          <p:cNvSpPr txBox="1">
            <a:spLocks noGrp="1"/>
          </p:cNvSpPr>
          <p:nvPr>
            <p:ph type="title" idx="8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21" name="Google Shape;221;p19"/>
          <p:cNvGrpSpPr/>
          <p:nvPr/>
        </p:nvGrpSpPr>
        <p:grpSpPr>
          <a:xfrm>
            <a:off x="541501" y="-1122527"/>
            <a:ext cx="17254650" cy="4381478"/>
            <a:chOff x="270750" y="-561264"/>
            <a:chExt cx="8627325" cy="2190739"/>
          </a:xfrm>
        </p:grpSpPr>
        <p:grpSp>
          <p:nvGrpSpPr>
            <p:cNvPr id="222" name="Google Shape;222;p19"/>
            <p:cNvGrpSpPr/>
            <p:nvPr/>
          </p:nvGrpSpPr>
          <p:grpSpPr>
            <a:xfrm rot="10800000" flipH="1">
              <a:off x="270750" y="253149"/>
              <a:ext cx="8627325" cy="1376326"/>
              <a:chOff x="270750" y="2965824"/>
              <a:chExt cx="8627325" cy="1376326"/>
            </a:xfrm>
          </p:grpSpPr>
          <p:sp>
            <p:nvSpPr>
              <p:cNvPr id="223" name="Google Shape;223;p19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  <p:sp>
            <p:nvSpPr>
              <p:cNvPr id="224" name="Google Shape;224;p19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  <p:sp>
            <p:nvSpPr>
              <p:cNvPr id="225" name="Google Shape;225;p19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</p:grpSp>
        <p:sp>
          <p:nvSpPr>
            <p:cNvPr id="226" name="Google Shape;226;p19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21079039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Title and text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20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29" name="Google Shape;229;p20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0" name="Google Shape;230;p20"/>
          <p:cNvGrpSpPr/>
          <p:nvPr/>
        </p:nvGrpSpPr>
        <p:grpSpPr>
          <a:xfrm>
            <a:off x="386449" y="501042"/>
            <a:ext cx="17438154" cy="8166288"/>
            <a:chOff x="193224" y="250521"/>
            <a:chExt cx="8719077" cy="4083144"/>
          </a:xfrm>
        </p:grpSpPr>
        <p:sp>
          <p:nvSpPr>
            <p:cNvPr id="231" name="Google Shape;231;p20"/>
            <p:cNvSpPr/>
            <p:nvPr/>
          </p:nvSpPr>
          <p:spPr>
            <a:xfrm>
              <a:off x="1717228" y="1859301"/>
              <a:ext cx="470400" cy="4704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32" name="Google Shape;232;p20"/>
            <p:cNvSpPr/>
            <p:nvPr/>
          </p:nvSpPr>
          <p:spPr>
            <a:xfrm>
              <a:off x="8291625" y="4138665"/>
              <a:ext cx="194700" cy="195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33" name="Google Shape;233;p20"/>
            <p:cNvSpPr/>
            <p:nvPr/>
          </p:nvSpPr>
          <p:spPr>
            <a:xfrm>
              <a:off x="8490521" y="250521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34" name="Google Shape;234;p20"/>
            <p:cNvSpPr/>
            <p:nvPr/>
          </p:nvSpPr>
          <p:spPr>
            <a:xfrm>
              <a:off x="193224" y="1617493"/>
              <a:ext cx="241500" cy="241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35" name="Google Shape;235;p20"/>
            <p:cNvSpPr/>
            <p:nvPr/>
          </p:nvSpPr>
          <p:spPr>
            <a:xfrm>
              <a:off x="8532801" y="3929875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  <p:sp>
        <p:nvSpPr>
          <p:cNvPr id="236" name="Google Shape;236;p20"/>
          <p:cNvSpPr txBox="1">
            <a:spLocks noGrp="1"/>
          </p:cNvSpPr>
          <p:nvPr>
            <p:ph type="subTitle" idx="1"/>
          </p:nvPr>
        </p:nvSpPr>
        <p:spPr>
          <a:xfrm>
            <a:off x="5044500" y="2172900"/>
            <a:ext cx="8199000" cy="571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Titillium Web"/>
              <a:buChar char="●"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7" name="Google Shape;237;p20"/>
          <p:cNvGrpSpPr/>
          <p:nvPr/>
        </p:nvGrpSpPr>
        <p:grpSpPr>
          <a:xfrm rot="10800000" flipH="1">
            <a:off x="1208250" y="2113550"/>
            <a:ext cx="16740300" cy="7270300"/>
            <a:chOff x="604125" y="-96626"/>
            <a:chExt cx="8370150" cy="3635150"/>
          </a:xfrm>
        </p:grpSpPr>
        <p:sp>
          <p:nvSpPr>
            <p:cNvPr id="238" name="Google Shape;238;p20"/>
            <p:cNvSpPr/>
            <p:nvPr/>
          </p:nvSpPr>
          <p:spPr>
            <a:xfrm>
              <a:off x="604125" y="25814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39" name="Google Shape;239;p20"/>
            <p:cNvSpPr/>
            <p:nvPr/>
          </p:nvSpPr>
          <p:spPr>
            <a:xfrm>
              <a:off x="8063025" y="27908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40" name="Google Shape;240;p20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41" name="Google Shape;241;p20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42" name="Google Shape;242;p20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43" name="Google Shape;243;p20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22335148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21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46" name="Google Shape;246;p21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47" name="Google Shape;247;p21"/>
          <p:cNvGrpSpPr/>
          <p:nvPr/>
        </p:nvGrpSpPr>
        <p:grpSpPr>
          <a:xfrm flipH="1">
            <a:off x="932226" y="566650"/>
            <a:ext cx="16620976" cy="8116276"/>
            <a:chOff x="270750" y="369050"/>
            <a:chExt cx="8310488" cy="4058138"/>
          </a:xfrm>
        </p:grpSpPr>
        <p:sp>
          <p:nvSpPr>
            <p:cNvPr id="248" name="Google Shape;248;p21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49" name="Google Shape;249;p21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50" name="Google Shape;250;p21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51" name="Google Shape;251;p21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52" name="Google Shape;252;p21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53" name="Google Shape;253;p21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54" name="Google Shape;254;p21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55" name="Google Shape;255;p21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14876776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 only 2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22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58" name="Google Shape;258;p22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59" name="Google Shape;259;p22"/>
          <p:cNvGrpSpPr/>
          <p:nvPr/>
        </p:nvGrpSpPr>
        <p:grpSpPr>
          <a:xfrm flipH="1">
            <a:off x="732001" y="506298"/>
            <a:ext cx="17126794" cy="8211876"/>
            <a:chOff x="536166" y="253149"/>
            <a:chExt cx="8563397" cy="4105938"/>
          </a:xfrm>
        </p:grpSpPr>
        <p:sp>
          <p:nvSpPr>
            <p:cNvPr id="260" name="Google Shape;260;p22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61" name="Google Shape;261;p22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62" name="Google Shape;262;p22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63" name="Google Shape;263;p22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64" name="Google Shape;264;p22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65" name="Google Shape;265;p22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66" name="Google Shape;266;p22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67" name="Google Shape;267;p22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12224856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 only 3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23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70" name="Google Shape;270;p23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71" name="Google Shape;271;p23"/>
          <p:cNvGrpSpPr/>
          <p:nvPr/>
        </p:nvGrpSpPr>
        <p:grpSpPr>
          <a:xfrm flipH="1">
            <a:off x="580600" y="438248"/>
            <a:ext cx="17374448" cy="9299676"/>
            <a:chOff x="412338" y="27249"/>
            <a:chExt cx="8687224" cy="4649838"/>
          </a:xfrm>
        </p:grpSpPr>
        <p:sp>
          <p:nvSpPr>
            <p:cNvPr id="272" name="Google Shape;272;p23"/>
            <p:cNvSpPr/>
            <p:nvPr/>
          </p:nvSpPr>
          <p:spPr>
            <a:xfrm>
              <a:off x="412338" y="904050"/>
              <a:ext cx="687300" cy="6873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73" name="Google Shape;273;p23"/>
            <p:cNvSpPr/>
            <p:nvPr/>
          </p:nvSpPr>
          <p:spPr>
            <a:xfrm>
              <a:off x="959150" y="39782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74" name="Google Shape;274;p23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75" name="Google Shape;275;p23"/>
            <p:cNvSpPr/>
            <p:nvPr/>
          </p:nvSpPr>
          <p:spPr>
            <a:xfrm>
              <a:off x="7399500" y="272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76" name="Google Shape;276;p23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77" name="Google Shape;277;p23"/>
            <p:cNvSpPr/>
            <p:nvPr/>
          </p:nvSpPr>
          <p:spPr>
            <a:xfrm>
              <a:off x="6661875" y="41562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78" name="Google Shape;278;p23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17764605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Thanks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24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81" name="Google Shape;281;p24"/>
          <p:cNvSpPr txBox="1">
            <a:spLocks noGrp="1"/>
          </p:cNvSpPr>
          <p:nvPr>
            <p:ph type="title"/>
          </p:nvPr>
        </p:nvSpPr>
        <p:spPr>
          <a:xfrm>
            <a:off x="5353800" y="1491750"/>
            <a:ext cx="7580400" cy="143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120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82" name="Google Shape;282;p24"/>
          <p:cNvSpPr txBox="1">
            <a:spLocks noGrp="1"/>
          </p:cNvSpPr>
          <p:nvPr>
            <p:ph type="subTitle" idx="1"/>
          </p:nvPr>
        </p:nvSpPr>
        <p:spPr>
          <a:xfrm>
            <a:off x="5966602" y="3092250"/>
            <a:ext cx="6354600" cy="218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24"/>
          <p:cNvSpPr txBox="1"/>
          <p:nvPr/>
        </p:nvSpPr>
        <p:spPr>
          <a:xfrm>
            <a:off x="5811300" y="6585150"/>
            <a:ext cx="6665400" cy="14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REDITS: This presentation template was created by </a:t>
            </a:r>
            <a:r>
              <a:rPr lang="en-GB" sz="24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-GB" sz="24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cluding icons by </a:t>
            </a:r>
            <a:r>
              <a:rPr lang="en-GB" sz="24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-GB" sz="24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fographics &amp; images by </a:t>
            </a:r>
            <a:r>
              <a:rPr lang="en-GB" sz="24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2400" b="1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284" name="Google Shape;284;p24"/>
          <p:cNvSpPr/>
          <p:nvPr/>
        </p:nvSpPr>
        <p:spPr>
          <a:xfrm>
            <a:off x="13296776" y="5143500"/>
            <a:ext cx="2379600" cy="2379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85" name="Google Shape;285;p24"/>
          <p:cNvSpPr/>
          <p:nvPr/>
        </p:nvSpPr>
        <p:spPr>
          <a:xfrm>
            <a:off x="4412550" y="6954200"/>
            <a:ext cx="1144200" cy="11442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86" name="Google Shape;286;p24"/>
          <p:cNvSpPr/>
          <p:nvPr/>
        </p:nvSpPr>
        <p:spPr>
          <a:xfrm>
            <a:off x="16602300" y="8096300"/>
            <a:ext cx="587400" cy="588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87" name="Google Shape;287;p24"/>
          <p:cNvSpPr/>
          <p:nvPr/>
        </p:nvSpPr>
        <p:spPr>
          <a:xfrm>
            <a:off x="12870750" y="545798"/>
            <a:ext cx="1144200" cy="1145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88" name="Google Shape;288;p24"/>
          <p:cNvSpPr/>
          <p:nvPr/>
        </p:nvSpPr>
        <p:spPr>
          <a:xfrm>
            <a:off x="1773900" y="2128948"/>
            <a:ext cx="1144200" cy="1145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89" name="Google Shape;289;p24"/>
          <p:cNvSpPr/>
          <p:nvPr/>
        </p:nvSpPr>
        <p:spPr>
          <a:xfrm>
            <a:off x="2818950" y="4756050"/>
            <a:ext cx="1040400" cy="1041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90" name="Google Shape;290;p24"/>
          <p:cNvSpPr/>
          <p:nvPr/>
        </p:nvSpPr>
        <p:spPr>
          <a:xfrm>
            <a:off x="16337576" y="3355326"/>
            <a:ext cx="1040400" cy="1041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91" name="Google Shape;291;p24"/>
          <p:cNvSpPr/>
          <p:nvPr/>
        </p:nvSpPr>
        <p:spPr>
          <a:xfrm>
            <a:off x="1265040" y="3092262"/>
            <a:ext cx="587400" cy="588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</p:spTree>
    <p:extLst>
      <p:ext uri="{BB962C8B-B14F-4D97-AF65-F5344CB8AC3E}">
        <p14:creationId xmlns:p14="http://schemas.microsoft.com/office/powerpoint/2010/main" val="27497095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25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grpSp>
        <p:nvGrpSpPr>
          <p:cNvPr id="294" name="Google Shape;294;p25"/>
          <p:cNvGrpSpPr/>
          <p:nvPr/>
        </p:nvGrpSpPr>
        <p:grpSpPr>
          <a:xfrm flipH="1">
            <a:off x="932226" y="566650"/>
            <a:ext cx="16620976" cy="8116276"/>
            <a:chOff x="270750" y="369050"/>
            <a:chExt cx="8310488" cy="4058138"/>
          </a:xfrm>
        </p:grpSpPr>
        <p:sp>
          <p:nvSpPr>
            <p:cNvPr id="295" name="Google Shape;295;p25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96" name="Google Shape;296;p25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97" name="Google Shape;297;p25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98" name="Google Shape;298;p25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99" name="Google Shape;299;p25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00" name="Google Shape;300;p25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01" name="Google Shape;301;p25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02" name="Google Shape;302;p25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991115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ackground 2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26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grpSp>
        <p:nvGrpSpPr>
          <p:cNvPr id="305" name="Google Shape;305;p26"/>
          <p:cNvGrpSpPr/>
          <p:nvPr/>
        </p:nvGrpSpPr>
        <p:grpSpPr>
          <a:xfrm flipH="1">
            <a:off x="732001" y="506298"/>
            <a:ext cx="17126794" cy="8211876"/>
            <a:chOff x="536166" y="253149"/>
            <a:chExt cx="8563397" cy="4105938"/>
          </a:xfrm>
        </p:grpSpPr>
        <p:sp>
          <p:nvSpPr>
            <p:cNvPr id="306" name="Google Shape;306;p26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07" name="Google Shape;307;p26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08" name="Google Shape;308;p26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09" name="Google Shape;309;p26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10" name="Google Shape;310;p26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11" name="Google Shape;311;p26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12" name="Google Shape;312;p26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13" name="Google Shape;313;p26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5114244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Background 4"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8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grpSp>
        <p:nvGrpSpPr>
          <p:cNvPr id="326" name="Google Shape;326;p28"/>
          <p:cNvGrpSpPr/>
          <p:nvPr/>
        </p:nvGrpSpPr>
        <p:grpSpPr>
          <a:xfrm>
            <a:off x="541501" y="-1122527"/>
            <a:ext cx="17254650" cy="9928050"/>
            <a:chOff x="270750" y="-561264"/>
            <a:chExt cx="8627325" cy="4964025"/>
          </a:xfrm>
        </p:grpSpPr>
        <p:grpSp>
          <p:nvGrpSpPr>
            <p:cNvPr id="327" name="Google Shape;327;p28"/>
            <p:cNvGrpSpPr/>
            <p:nvPr/>
          </p:nvGrpSpPr>
          <p:grpSpPr>
            <a:xfrm rot="10800000" flipH="1">
              <a:off x="270750" y="253149"/>
              <a:ext cx="8627325" cy="4149612"/>
              <a:chOff x="270750" y="192538"/>
              <a:chExt cx="8627325" cy="4149612"/>
            </a:xfrm>
          </p:grpSpPr>
          <p:sp>
            <p:nvSpPr>
              <p:cNvPr id="328" name="Google Shape;328;p28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  <p:sp>
            <p:nvSpPr>
              <p:cNvPr id="329" name="Google Shape;329;p28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  <p:sp>
            <p:nvSpPr>
              <p:cNvPr id="330" name="Google Shape;330;p28"/>
              <p:cNvSpPr/>
              <p:nvPr/>
            </p:nvSpPr>
            <p:spPr>
              <a:xfrm>
                <a:off x="7218275" y="36057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  <p:sp>
            <p:nvSpPr>
              <p:cNvPr id="331" name="Google Shape;331;p28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  <p:sp>
            <p:nvSpPr>
              <p:cNvPr id="332" name="Google Shape;332;p28"/>
              <p:cNvSpPr/>
              <p:nvPr/>
            </p:nvSpPr>
            <p:spPr>
              <a:xfrm>
                <a:off x="817013" y="192538"/>
                <a:ext cx="520200" cy="5208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  <p:sp>
            <p:nvSpPr>
              <p:cNvPr id="333" name="Google Shape;333;p28"/>
              <p:cNvSpPr/>
              <p:nvPr/>
            </p:nvSpPr>
            <p:spPr>
              <a:xfrm>
                <a:off x="1337220" y="250706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</p:grpSp>
        <p:sp>
          <p:nvSpPr>
            <p:cNvPr id="334" name="Google Shape;334;p28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20455029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ítulo y objetos" type="obj">
  <p:cSld name="1_Título y objetos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29"/>
          <p:cNvSpPr txBox="1">
            <a:spLocks noGrp="1"/>
          </p:cNvSpPr>
          <p:nvPr>
            <p:ph type="title"/>
          </p:nvPr>
        </p:nvSpPr>
        <p:spPr>
          <a:xfrm>
            <a:off x="0" y="0"/>
            <a:ext cx="16459200" cy="123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7" name="Google Shape;337;p29"/>
          <p:cNvSpPr txBox="1">
            <a:spLocks noGrp="1"/>
          </p:cNvSpPr>
          <p:nvPr>
            <p:ph type="body" idx="1"/>
          </p:nvPr>
        </p:nvSpPr>
        <p:spPr>
          <a:xfrm>
            <a:off x="914400" y="2400300"/>
            <a:ext cx="16459200" cy="678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914400" lvl="0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1828800" lvl="1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2743200" lvl="2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3657600" lvl="3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4572000" lvl="4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5486400" lvl="5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6400800" lvl="6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7315200" lvl="7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8229600" lvl="8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213360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 Layout 2"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0"/>
          <p:cNvSpPr/>
          <p:nvPr/>
        </p:nvSpPr>
        <p:spPr>
          <a:xfrm>
            <a:off x="164750" y="161400"/>
            <a:ext cx="17961600" cy="99642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340" name="Google Shape;340;p30"/>
          <p:cNvSpPr txBox="1">
            <a:spLocks noGrp="1"/>
          </p:cNvSpPr>
          <p:nvPr>
            <p:ph type="title"/>
          </p:nvPr>
        </p:nvSpPr>
        <p:spPr>
          <a:xfrm>
            <a:off x="623400" y="890050"/>
            <a:ext cx="17041200" cy="12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Titillium Web"/>
              <a:buNone/>
              <a:defRPr b="1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714057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>
  <p:cSld name="Title slide 1"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p31"/>
          <p:cNvSpPr/>
          <p:nvPr/>
        </p:nvSpPr>
        <p:spPr>
          <a:xfrm>
            <a:off x="0" y="0"/>
            <a:ext cx="18288000" cy="24612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343" name="Google Shape;343;p31"/>
          <p:cNvSpPr txBox="1">
            <a:spLocks noGrp="1"/>
          </p:cNvSpPr>
          <p:nvPr>
            <p:ph type="ctrTitle"/>
          </p:nvPr>
        </p:nvSpPr>
        <p:spPr>
          <a:xfrm>
            <a:off x="304800" y="-152400"/>
            <a:ext cx="16367400" cy="155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itillium Web"/>
              <a:buNone/>
              <a:defRPr sz="6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84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84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84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84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84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84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84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8400"/>
            </a:lvl9pPr>
          </a:lstStyle>
          <a:p>
            <a:endParaRPr/>
          </a:p>
        </p:txBody>
      </p:sp>
      <p:sp>
        <p:nvSpPr>
          <p:cNvPr id="344" name="Google Shape;344;p31"/>
          <p:cNvSpPr txBox="1">
            <a:spLocks noGrp="1"/>
          </p:cNvSpPr>
          <p:nvPr>
            <p:ph type="subTitle" idx="1"/>
          </p:nvPr>
        </p:nvSpPr>
        <p:spPr>
          <a:xfrm>
            <a:off x="271300" y="1343750"/>
            <a:ext cx="16367400" cy="111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Titillium Web"/>
              <a:buNone/>
              <a:defRPr sz="26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4800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4800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4800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4800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4800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4800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4800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4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24850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1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1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image" Target="../media/image4.emf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57DD098-FD83-F8FC-DC2A-27EF6E2B16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08824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6" imgW="454" imgH="454" progId="TCLayout.ActiveDocument.1">
                  <p:embed/>
                </p:oleObj>
              </mc:Choice>
              <mc:Fallback>
                <p:oleObj name="Diapositiva de think-cell" r:id="rId16" imgW="454" imgH="45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7DD098-FD83-F8FC-DC2A-27EF6E2B1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8/2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Freeform 2">
            <a:extLst>
              <a:ext uri="{FF2B5EF4-FFF2-40B4-BE49-F238E27FC236}">
                <a16:creationId xmlns:a16="http://schemas.microsoft.com/office/drawing/2014/main" id="{CF168B63-A5B2-7A4A-121E-58F90DDD983D}"/>
              </a:ext>
            </a:extLst>
          </p:cNvPr>
          <p:cNvSpPr/>
          <p:nvPr userDrawn="1"/>
        </p:nvSpPr>
        <p:spPr>
          <a:xfrm>
            <a:off x="12221817" y="9040070"/>
            <a:ext cx="5037483" cy="850092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18"/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  <p:sp>
        <p:nvSpPr>
          <p:cNvPr id="8" name="Freeform 3">
            <a:extLst>
              <a:ext uri="{FF2B5EF4-FFF2-40B4-BE49-F238E27FC236}">
                <a16:creationId xmlns:a16="http://schemas.microsoft.com/office/drawing/2014/main" id="{1876BB7E-02D3-321F-9472-A6FA2C9EDF7D}"/>
              </a:ext>
            </a:extLst>
          </p:cNvPr>
          <p:cNvSpPr/>
          <p:nvPr userDrawn="1"/>
        </p:nvSpPr>
        <p:spPr>
          <a:xfrm>
            <a:off x="1028700" y="9040070"/>
            <a:ext cx="2257552" cy="951609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19"/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827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40" userDrawn="1">
          <p15:clr>
            <a:srgbClr val="F26B43"/>
          </p15:clr>
        </p15:guide>
        <p15:guide id="2" pos="57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91763D-9311-F843-478D-53DB21F11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473434795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25" imgW="444" imgH="443" progId="TCLayout.ActiveDocument.1">
                  <p:embed/>
                </p:oleObj>
              </mc:Choice>
              <mc:Fallback>
                <p:oleObj name="Diapositiva de think-cell" r:id="rId25" imgW="444" imgH="44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091763D-9311-F843-478D-53DB21F11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1426450" y="2304950"/>
            <a:ext cx="15435000" cy="683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lvl="2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lvl="3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lvl="4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lvl="5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lvl="6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lvl="7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lvl="8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198749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  <p:sldLayoutId id="2147483844" r:id="rId16"/>
    <p:sldLayoutId id="2147483845" r:id="rId17"/>
    <p:sldLayoutId id="2147483846" r:id="rId18"/>
    <p:sldLayoutId id="2147483847" r:id="rId19"/>
    <p:sldLayoutId id="2147483848" r:id="rId20"/>
    <p:sldLayoutId id="2147483849" r:id="rId21"/>
    <p:sldLayoutId id="2147483850" r:id="rId2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2BEA78-5CB1-B0FA-14F3-D3946A7678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EDE778F-4148-E6BB-335B-9918AC584D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3036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54" imgH="454" progId="TCLayout.ActiveDocument.1">
                  <p:embed/>
                </p:oleObj>
              </mc:Choice>
              <mc:Fallback>
                <p:oleObj name="Diapositiva de think-cell" r:id="rId3" imgW="454" imgH="45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DE778F-4148-E6BB-335B-9918AC584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8B68A14-B2C6-839C-FF09-6DFDC8AC41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/>
            <a:r>
              <a:rPr lang="en-GB" sz="2999" noProof="0" dirty="0">
                <a:solidFill>
                  <a:srgbClr val="4C4C4C"/>
                </a:solidFill>
                <a:cs typeface="Arial" panose="020B0604020202020204" pitchFamily="34" charset="0"/>
              </a:rPr>
              <a:t>Market definition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8D4CF6DD-4762-D289-92BD-8ED578F21E91}"/>
              </a:ext>
            </a:extLst>
          </p:cNvPr>
          <p:cNvSpPr txBox="1">
            <a:spLocks/>
          </p:cNvSpPr>
          <p:nvPr/>
        </p:nvSpPr>
        <p:spPr>
          <a:xfrm>
            <a:off x="5638799" y="2734635"/>
            <a:ext cx="9982201" cy="4466265"/>
          </a:xfrm>
          <a:prstGeom prst="roundRect">
            <a:avLst>
              <a:gd name="adj" fmla="val 8990"/>
            </a:avLst>
          </a:prstGeom>
          <a:solidFill>
            <a:schemeClr val="bg1">
              <a:lumMod val="95000"/>
            </a:schemeClr>
          </a:solidFill>
        </p:spPr>
        <p:txBody>
          <a:bodyPr vert="horz" lIns="163237" tIns="81619" rIns="163237" bIns="81619" rtlCol="0">
            <a:noAutofit/>
          </a:bodyPr>
          <a:lstStyle>
            <a:lvl1pPr marL="215433" indent="-215433" algn="l" defTabSz="1088502" rtl="0" eaLnBrk="1" latinLnBrk="0" hangingPunct="1">
              <a:lnSpc>
                <a:spcPts val="2738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46298" indent="-215433" algn="l" defTabSz="1088502" rtl="0" eaLnBrk="1" latinLnBrk="0" hangingPunct="1">
              <a:lnSpc>
                <a:spcPts val="2738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63778" indent="-215433" algn="l" defTabSz="1088502" rtl="0" eaLnBrk="1" latinLnBrk="0" hangingPunct="1">
              <a:lnSpc>
                <a:spcPts val="2738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281257" indent="-215433" algn="l" defTabSz="1088502" rtl="0" eaLnBrk="1" latinLnBrk="0" hangingPunct="1">
              <a:lnSpc>
                <a:spcPts val="2738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598737" indent="-215433" algn="l" defTabSz="1088502" rtl="0" eaLnBrk="1" latinLnBrk="0" hangingPunct="1">
              <a:lnSpc>
                <a:spcPts val="2738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993380" indent="-272125" algn="l" defTabSz="10885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631" indent="-272125" algn="l" defTabSz="10885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1882" indent="-272125" algn="l" defTabSz="10885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132" indent="-272125" algn="l" defTabSz="10885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632426">
              <a:lnSpc>
                <a:spcPts val="4106"/>
              </a:lnSpc>
              <a:spcAft>
                <a:spcPts val="900"/>
              </a:spcAft>
              <a:buClr>
                <a:srgbClr val="0A73B4"/>
              </a:buClr>
              <a:buNone/>
            </a:pPr>
            <a:r>
              <a:rPr lang="en-GB" sz="2699" b="1" noProof="0" dirty="0">
                <a:latin typeface="Calibri"/>
              </a:rPr>
              <a:t>Market definition: XXXXXXXXXXXXXX</a:t>
            </a:r>
          </a:p>
          <a:p>
            <a:pPr marL="323085" indent="-323085" defTabSz="1632426">
              <a:lnSpc>
                <a:spcPct val="100000"/>
              </a:lnSpc>
              <a:buClr>
                <a:srgbClr val="0A73B4"/>
              </a:buClr>
            </a:pPr>
            <a:r>
              <a:rPr lang="en-GB" sz="2100" noProof="0" dirty="0">
                <a:solidFill>
                  <a:srgbClr val="404040"/>
                </a:solidFill>
                <a:latin typeface="Calibri"/>
              </a:rPr>
              <a:t>XXXXXXXXXXXXXX</a:t>
            </a:r>
            <a:endParaRPr lang="en-GB" sz="2849" noProof="0" dirty="0">
              <a:solidFill>
                <a:srgbClr val="404040"/>
              </a:solidFill>
              <a:latin typeface="Calibri"/>
            </a:endParaRPr>
          </a:p>
        </p:txBody>
      </p:sp>
      <p:sp>
        <p:nvSpPr>
          <p:cNvPr id="6" name="Abgerundetes Rechteck 19">
            <a:extLst>
              <a:ext uri="{FF2B5EF4-FFF2-40B4-BE49-F238E27FC236}">
                <a16:creationId xmlns:a16="http://schemas.microsoft.com/office/drawing/2014/main" id="{85C1C5EF-C119-5DF7-E0CD-263BDAF670B3}"/>
              </a:ext>
            </a:extLst>
          </p:cNvPr>
          <p:cNvSpPr/>
          <p:nvPr/>
        </p:nvSpPr>
        <p:spPr>
          <a:xfrm>
            <a:off x="1087739" y="5483056"/>
            <a:ext cx="3727150" cy="1717844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100" noProof="0" dirty="0"/>
              <a:t>Product/Service/Technology description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EECE6A82-D7DE-8FE4-4C8A-5593BF11D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pPr algn="l"/>
            <a:r>
              <a:rPr lang="en-GB" sz="3600" b="1" noProof="0" dirty="0">
                <a:solidFill>
                  <a:srgbClr val="333089"/>
                </a:solidFill>
                <a:latin typeface="Titillium Web Bold"/>
                <a:ea typeface="+mn-ea"/>
                <a:cs typeface="+mn-cs"/>
              </a:rPr>
              <a:t>Describe your product/service/technology and the wider market targeted</a:t>
            </a:r>
          </a:p>
        </p:txBody>
      </p:sp>
      <p:sp>
        <p:nvSpPr>
          <p:cNvPr id="9" name="Título 2">
            <a:extLst>
              <a:ext uri="{FF2B5EF4-FFF2-40B4-BE49-F238E27FC236}">
                <a16:creationId xmlns:a16="http://schemas.microsoft.com/office/drawing/2014/main" id="{C991D616-0BFE-8E8C-5DEF-E231C405FF33}"/>
              </a:ext>
            </a:extLst>
          </p:cNvPr>
          <p:cNvSpPr txBox="1">
            <a:spLocks/>
          </p:cNvSpPr>
          <p:nvPr/>
        </p:nvSpPr>
        <p:spPr>
          <a:xfrm>
            <a:off x="942977" y="479896"/>
            <a:ext cx="14114064" cy="92757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999" kern="1200" baseline="0">
                <a:solidFill>
                  <a:srgbClr val="4B4B4B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GB" sz="3600" b="1" noProof="0" dirty="0">
              <a:solidFill>
                <a:srgbClr val="333089"/>
              </a:solidFill>
              <a:latin typeface="Titillium Web Bold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35317100-DF12-FFEB-7619-71B7DDABABA8}"/>
              </a:ext>
            </a:extLst>
          </p:cNvPr>
          <p:cNvSpPr txBox="1"/>
          <p:nvPr/>
        </p:nvSpPr>
        <p:spPr>
          <a:xfrm>
            <a:off x="6042758" y="6667500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ources: XXXXXX</a:t>
            </a:r>
          </a:p>
        </p:txBody>
      </p:sp>
    </p:spTree>
    <p:extLst>
      <p:ext uri="{BB962C8B-B14F-4D97-AF65-F5344CB8AC3E}">
        <p14:creationId xmlns:p14="http://schemas.microsoft.com/office/powerpoint/2010/main" val="401983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DF73FFD-6FA0-D898-9306-0B413EBD52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175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54" imgH="454" progId="TCLayout.ActiveDocument.1">
                  <p:embed/>
                </p:oleObj>
              </mc:Choice>
              <mc:Fallback>
                <p:oleObj name="Diapositiva de think-cell" r:id="rId3" imgW="454" imgH="45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F73FFD-6FA0-D898-9306-0B413EBD5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593739A-2CC5-EC5A-476B-6FB621BA39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/>
            <a:r>
              <a:rPr lang="es-ES" sz="2999" dirty="0" err="1">
                <a:solidFill>
                  <a:srgbClr val="4C4C4C"/>
                </a:solidFill>
                <a:cs typeface="Arial" panose="020B0604020202020204" pitchFamily="34" charset="0"/>
              </a:rPr>
              <a:t>Market</a:t>
            </a:r>
            <a:r>
              <a:rPr lang="es-ES" sz="2999" dirty="0">
                <a:solidFill>
                  <a:srgbClr val="4C4C4C"/>
                </a:solidFill>
                <a:cs typeface="Arial" panose="020B0604020202020204" pitchFamily="34" charset="0"/>
              </a:rPr>
              <a:t> </a:t>
            </a:r>
            <a:r>
              <a:rPr lang="es-ES" sz="2999" dirty="0" err="1">
                <a:solidFill>
                  <a:srgbClr val="4C4C4C"/>
                </a:solidFill>
                <a:cs typeface="Arial" panose="020B0604020202020204" pitchFamily="34" charset="0"/>
              </a:rPr>
              <a:t>segmentation</a:t>
            </a:r>
            <a:endParaRPr lang="es-ES" sz="2999" dirty="0">
              <a:solidFill>
                <a:srgbClr val="4C4C4C"/>
              </a:solidFill>
              <a:cs typeface="Arial" panose="020B060402020202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A0018E0-5C5D-39C0-45D1-D9E8C4996B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3600" b="1">
                <a:solidFill>
                  <a:srgbClr val="333089"/>
                </a:solidFill>
                <a:latin typeface="Titillium Web Bold"/>
                <a:ea typeface="+mn-ea"/>
                <a:cs typeface="+mn-cs"/>
              </a:rPr>
              <a:t>Identify up to six market segments along with their corresponding sub-segments</a:t>
            </a:r>
            <a:endParaRPr lang="en-GB" sz="3600" b="1" dirty="0">
              <a:solidFill>
                <a:srgbClr val="333089"/>
              </a:solidFill>
              <a:latin typeface="Titillium Web Bold"/>
              <a:ea typeface="+mn-ea"/>
              <a:cs typeface="+mn-cs"/>
            </a:endParaRPr>
          </a:p>
        </p:txBody>
      </p:sp>
      <p:sp>
        <p:nvSpPr>
          <p:cNvPr id="33" name="Inhaltsplatzhalter 1">
            <a:extLst>
              <a:ext uri="{FF2B5EF4-FFF2-40B4-BE49-F238E27FC236}">
                <a16:creationId xmlns:a16="http://schemas.microsoft.com/office/drawing/2014/main" id="{A71D9E4A-36F5-836F-281D-B31D5B6D6301}"/>
              </a:ext>
            </a:extLst>
          </p:cNvPr>
          <p:cNvSpPr txBox="1">
            <a:spLocks/>
          </p:cNvSpPr>
          <p:nvPr/>
        </p:nvSpPr>
        <p:spPr>
          <a:xfrm>
            <a:off x="791073" y="2121933"/>
            <a:ext cx="16667519" cy="6585137"/>
          </a:xfrm>
          <a:prstGeom prst="roundRect">
            <a:avLst>
              <a:gd name="adj" fmla="val 8990"/>
            </a:avLst>
          </a:prstGeom>
          <a:solidFill>
            <a:schemeClr val="bg1">
              <a:lumMod val="95000"/>
            </a:schemeClr>
          </a:solidFill>
        </p:spPr>
        <p:txBody>
          <a:bodyPr vert="horz" lIns="163237" tIns="81619" rIns="163237" bIns="81619" rtlCol="0">
            <a:noAutofit/>
          </a:bodyPr>
          <a:lstStyle>
            <a:lvl1pPr marL="215433" indent="-215433" algn="l" defTabSz="1088502" rtl="0" eaLnBrk="1" latinLnBrk="0" hangingPunct="1">
              <a:lnSpc>
                <a:spcPts val="2738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46298" indent="-215433" algn="l" defTabSz="1088502" rtl="0" eaLnBrk="1" latinLnBrk="0" hangingPunct="1">
              <a:lnSpc>
                <a:spcPts val="2738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63778" indent="-215433" algn="l" defTabSz="1088502" rtl="0" eaLnBrk="1" latinLnBrk="0" hangingPunct="1">
              <a:lnSpc>
                <a:spcPts val="2738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281257" indent="-215433" algn="l" defTabSz="1088502" rtl="0" eaLnBrk="1" latinLnBrk="0" hangingPunct="1">
              <a:lnSpc>
                <a:spcPts val="2738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598737" indent="-215433" algn="l" defTabSz="1088502" rtl="0" eaLnBrk="1" latinLnBrk="0" hangingPunct="1">
              <a:lnSpc>
                <a:spcPts val="2738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993380" indent="-272125" algn="l" defTabSz="10885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631" indent="-272125" algn="l" defTabSz="10885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1882" indent="-272125" algn="l" defTabSz="10885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132" indent="-272125" algn="l" defTabSz="10885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632426">
              <a:lnSpc>
                <a:spcPts val="4106"/>
              </a:lnSpc>
              <a:spcAft>
                <a:spcPts val="900"/>
              </a:spcAft>
              <a:buClr>
                <a:srgbClr val="0A73B4"/>
              </a:buClr>
              <a:buNone/>
            </a:pPr>
            <a:endParaRPr lang="en-GB" sz="2849" noProof="0" dirty="0">
              <a:solidFill>
                <a:srgbClr val="404040"/>
              </a:solidFill>
              <a:latin typeface="Calibri"/>
            </a:endParaRPr>
          </a:p>
          <a:p>
            <a:pPr marL="0" indent="0" defTabSz="1632426">
              <a:lnSpc>
                <a:spcPts val="4106"/>
              </a:lnSpc>
              <a:spcAft>
                <a:spcPts val="900"/>
              </a:spcAft>
              <a:buClr>
                <a:srgbClr val="0A73B4"/>
              </a:buClr>
              <a:buNone/>
            </a:pPr>
            <a:endParaRPr lang="en-GB" sz="2849" dirty="0">
              <a:solidFill>
                <a:srgbClr val="404040"/>
              </a:solidFill>
              <a:latin typeface="Calibri"/>
            </a:endParaRPr>
          </a:p>
          <a:p>
            <a:pPr marL="0" indent="0" defTabSz="1632426">
              <a:lnSpc>
                <a:spcPts val="4106"/>
              </a:lnSpc>
              <a:spcAft>
                <a:spcPts val="900"/>
              </a:spcAft>
              <a:buClr>
                <a:srgbClr val="0A73B4"/>
              </a:buClr>
              <a:buNone/>
            </a:pPr>
            <a:endParaRPr lang="en-GB" sz="2849" noProof="0" dirty="0">
              <a:solidFill>
                <a:srgbClr val="404040"/>
              </a:solidFill>
              <a:latin typeface="Calibri"/>
            </a:endParaRPr>
          </a:p>
          <a:p>
            <a:pPr marL="0" indent="0" algn="ctr" defTabSz="1632426">
              <a:lnSpc>
                <a:spcPts val="4106"/>
              </a:lnSpc>
              <a:spcAft>
                <a:spcPts val="900"/>
              </a:spcAft>
              <a:buClr>
                <a:srgbClr val="0A73B4"/>
              </a:buClr>
              <a:buNone/>
            </a:pPr>
            <a:r>
              <a:rPr lang="en-GB" sz="2849" i="1" dirty="0">
                <a:solidFill>
                  <a:srgbClr val="404040"/>
                </a:solidFill>
                <a:latin typeface="Calibri"/>
              </a:rPr>
              <a:t>Include mind map</a:t>
            </a:r>
          </a:p>
        </p:txBody>
      </p:sp>
    </p:spTree>
    <p:extLst>
      <p:ext uri="{BB962C8B-B14F-4D97-AF65-F5344CB8AC3E}">
        <p14:creationId xmlns:p14="http://schemas.microsoft.com/office/powerpoint/2010/main" val="43095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7227347"/>
              </p:ext>
            </p:extLst>
          </p:nvPr>
        </p:nvGraphicFramePr>
        <p:xfrm>
          <a:off x="5689" y="2381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689" y="2381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794094" y="1"/>
            <a:ext cx="13857244" cy="1553406"/>
          </a:xfrm>
        </p:spPr>
        <p:txBody>
          <a:bodyPr/>
          <a:lstStyle/>
          <a:p>
            <a:r>
              <a:rPr lang="en-GB" sz="3600" dirty="0">
                <a:solidFill>
                  <a:srgbClr val="333089"/>
                </a:solidFill>
                <a:latin typeface="Titillium Web Bold"/>
              </a:rPr>
              <a:t>Identify up to 4 application areas and prioritise them based on your knowledge or assump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rgbClr val="4C4C4C"/>
                </a:solidFill>
                <a:cs typeface="Arial" panose="020B0604020202020204" pitchFamily="34" charset="0"/>
              </a:rPr>
              <a:t>Prioritisation and use cases</a:t>
            </a:r>
          </a:p>
        </p:txBody>
      </p:sp>
      <p:sp>
        <p:nvSpPr>
          <p:cNvPr id="188" name="Rechteck 78">
            <a:extLst>
              <a:ext uri="{FF2B5EF4-FFF2-40B4-BE49-F238E27FC236}">
                <a16:creationId xmlns:a16="http://schemas.microsoft.com/office/drawing/2014/main" id="{D991BFD1-38B5-F0C4-FB5A-EDF9E0548F3C}"/>
              </a:ext>
            </a:extLst>
          </p:cNvPr>
          <p:cNvSpPr/>
          <p:nvPr/>
        </p:nvSpPr>
        <p:spPr>
          <a:xfrm>
            <a:off x="4233308" y="2726533"/>
            <a:ext cx="2966922" cy="431948"/>
          </a:xfrm>
          <a:prstGeom prst="rect">
            <a:avLst/>
          </a:prstGeom>
          <a:solidFill>
            <a:srgbClr val="0A73B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ket segment 1</a:t>
            </a:r>
          </a:p>
        </p:txBody>
      </p:sp>
      <p:sp>
        <p:nvSpPr>
          <p:cNvPr id="189" name="Rechteck 79">
            <a:extLst>
              <a:ext uri="{FF2B5EF4-FFF2-40B4-BE49-F238E27FC236}">
                <a16:creationId xmlns:a16="http://schemas.microsoft.com/office/drawing/2014/main" id="{4F4492AA-2755-9802-4F8E-466AC053F823}"/>
              </a:ext>
            </a:extLst>
          </p:cNvPr>
          <p:cNvSpPr/>
          <p:nvPr/>
        </p:nvSpPr>
        <p:spPr>
          <a:xfrm>
            <a:off x="10435930" y="2726533"/>
            <a:ext cx="3135534" cy="431948"/>
          </a:xfrm>
          <a:prstGeom prst="rect">
            <a:avLst/>
          </a:prstGeom>
          <a:solidFill>
            <a:srgbClr val="0A73B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1632426">
              <a:defRPr/>
            </a:pPr>
            <a:r>
              <a:rPr lang="en-GB" kern="0" dirty="0">
                <a:solidFill>
                  <a:srgbClr val="FFFFFF"/>
                </a:solidFill>
              </a:rPr>
              <a:t>Market segment 3</a:t>
            </a:r>
          </a:p>
        </p:txBody>
      </p:sp>
      <p:sp>
        <p:nvSpPr>
          <p:cNvPr id="197" name="Rechteck 85">
            <a:extLst>
              <a:ext uri="{FF2B5EF4-FFF2-40B4-BE49-F238E27FC236}">
                <a16:creationId xmlns:a16="http://schemas.microsoft.com/office/drawing/2014/main" id="{26E6B745-AD19-6824-9C4A-379EB9C25962}"/>
              </a:ext>
            </a:extLst>
          </p:cNvPr>
          <p:cNvSpPr/>
          <p:nvPr/>
        </p:nvSpPr>
        <p:spPr>
          <a:xfrm>
            <a:off x="4233308" y="5386734"/>
            <a:ext cx="2966927" cy="1129279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t" anchorCtr="0"/>
          <a:lstStyle/>
          <a:p>
            <a:pPr marL="0" marR="0" lvl="0" indent="0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8" name="Rechteck 87">
            <a:extLst>
              <a:ext uri="{FF2B5EF4-FFF2-40B4-BE49-F238E27FC236}">
                <a16:creationId xmlns:a16="http://schemas.microsoft.com/office/drawing/2014/main" id="{80CDF3BC-AD70-148E-9433-4A370AD87826}"/>
              </a:ext>
            </a:extLst>
          </p:cNvPr>
          <p:cNvSpPr/>
          <p:nvPr/>
        </p:nvSpPr>
        <p:spPr>
          <a:xfrm>
            <a:off x="7244722" y="5377184"/>
            <a:ext cx="3111559" cy="1129279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t" anchorCtr="0"/>
          <a:lstStyle/>
          <a:p>
            <a:pPr marL="0" marR="0" lvl="0" indent="0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5" name="Rechteck 66">
            <a:extLst>
              <a:ext uri="{FF2B5EF4-FFF2-40B4-BE49-F238E27FC236}">
                <a16:creationId xmlns:a16="http://schemas.microsoft.com/office/drawing/2014/main" id="{C44B278D-181C-8E16-4CA2-F90B473AC237}"/>
              </a:ext>
            </a:extLst>
          </p:cNvPr>
          <p:cNvSpPr/>
          <p:nvPr/>
        </p:nvSpPr>
        <p:spPr>
          <a:xfrm>
            <a:off x="1079257" y="5373224"/>
            <a:ext cx="2933625" cy="1174942"/>
          </a:xfrm>
          <a:prstGeom prst="rect">
            <a:avLst/>
          </a:prstGeom>
          <a:solidFill>
            <a:srgbClr val="0A73B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3713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Use case</a:t>
            </a:r>
          </a:p>
        </p:txBody>
      </p:sp>
      <p:sp>
        <p:nvSpPr>
          <p:cNvPr id="206" name="Textfeld 80">
            <a:extLst>
              <a:ext uri="{FF2B5EF4-FFF2-40B4-BE49-F238E27FC236}">
                <a16:creationId xmlns:a16="http://schemas.microsoft.com/office/drawing/2014/main" id="{0E7D30A5-EC3C-16D3-B372-373404C91098}"/>
              </a:ext>
            </a:extLst>
          </p:cNvPr>
          <p:cNvSpPr txBox="1"/>
          <p:nvPr/>
        </p:nvSpPr>
        <p:spPr>
          <a:xfrm>
            <a:off x="4192590" y="5349712"/>
            <a:ext cx="3077498" cy="346249"/>
          </a:xfrm>
          <a:prstGeom prst="rect">
            <a:avLst/>
          </a:prstGeom>
          <a:noFill/>
        </p:spPr>
        <p:txBody>
          <a:bodyPr wrap="square" lIns="53988" rIns="53988" rtlCol="0">
            <a:spAutoFit/>
          </a:bodyPr>
          <a:lstStyle/>
          <a:p>
            <a:pPr marL="0" marR="0" lvl="0" indent="0" algn="ctr" defTabSz="13713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50" b="0" i="0" u="none" strike="noStrike" kern="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</a:rPr>
              <a:t>Use case description 1</a:t>
            </a:r>
          </a:p>
        </p:txBody>
      </p:sp>
      <p:sp>
        <p:nvSpPr>
          <p:cNvPr id="208" name="Rechteck 94">
            <a:extLst>
              <a:ext uri="{FF2B5EF4-FFF2-40B4-BE49-F238E27FC236}">
                <a16:creationId xmlns:a16="http://schemas.microsoft.com/office/drawing/2014/main" id="{C282A11E-C4B0-C399-E924-A0C7D85D6623}"/>
              </a:ext>
            </a:extLst>
          </p:cNvPr>
          <p:cNvSpPr/>
          <p:nvPr/>
        </p:nvSpPr>
        <p:spPr>
          <a:xfrm>
            <a:off x="10466446" y="4772004"/>
            <a:ext cx="3105022" cy="489539"/>
          </a:xfrm>
          <a:prstGeom prst="rect">
            <a:avLst/>
          </a:prstGeom>
          <a:solidFill>
            <a:srgbClr val="B4C800">
              <a:lumMod val="5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lvl="0" algn="ctr" defTabSz="1632426">
              <a:defRPr/>
            </a:pPr>
            <a:r>
              <a:rPr lang="en-GB" kern="0" dirty="0">
                <a:solidFill>
                  <a:srgbClr val="FFFFFF"/>
                </a:solidFill>
              </a:rPr>
              <a:t>Market niche 3</a:t>
            </a:r>
          </a:p>
        </p:txBody>
      </p:sp>
      <p:sp>
        <p:nvSpPr>
          <p:cNvPr id="213" name="Rechteck 99">
            <a:extLst>
              <a:ext uri="{FF2B5EF4-FFF2-40B4-BE49-F238E27FC236}">
                <a16:creationId xmlns:a16="http://schemas.microsoft.com/office/drawing/2014/main" id="{9A0B4B0B-7C10-C63D-FE25-9214DD8B35CA}"/>
              </a:ext>
            </a:extLst>
          </p:cNvPr>
          <p:cNvSpPr/>
          <p:nvPr/>
        </p:nvSpPr>
        <p:spPr>
          <a:xfrm>
            <a:off x="10446814" y="5386734"/>
            <a:ext cx="3124653" cy="1129279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t" anchorCtr="0"/>
          <a:lstStyle/>
          <a:p>
            <a:pPr marL="0" marR="0" lvl="0" indent="0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2" name="Rechteck 113">
            <a:extLst>
              <a:ext uri="{FF2B5EF4-FFF2-40B4-BE49-F238E27FC236}">
                <a16:creationId xmlns:a16="http://schemas.microsoft.com/office/drawing/2014/main" id="{3559D346-3343-7D22-CBB2-533A0C048E94}"/>
              </a:ext>
            </a:extLst>
          </p:cNvPr>
          <p:cNvSpPr/>
          <p:nvPr/>
        </p:nvSpPr>
        <p:spPr>
          <a:xfrm>
            <a:off x="13661999" y="5386734"/>
            <a:ext cx="3298991" cy="1129279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t" anchorCtr="0"/>
          <a:lstStyle/>
          <a:p>
            <a:pPr marL="0" marR="0" lvl="0" indent="0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6" name="Textfeld 120">
            <a:extLst>
              <a:ext uri="{FF2B5EF4-FFF2-40B4-BE49-F238E27FC236}">
                <a16:creationId xmlns:a16="http://schemas.microsoft.com/office/drawing/2014/main" id="{76991C3F-6F36-9093-678F-2F6BFA2BD8F5}"/>
              </a:ext>
            </a:extLst>
          </p:cNvPr>
          <p:cNvSpPr txBox="1"/>
          <p:nvPr/>
        </p:nvSpPr>
        <p:spPr>
          <a:xfrm>
            <a:off x="13596236" y="5416950"/>
            <a:ext cx="3364755" cy="346249"/>
          </a:xfrm>
          <a:prstGeom prst="rect">
            <a:avLst/>
          </a:prstGeom>
          <a:noFill/>
        </p:spPr>
        <p:txBody>
          <a:bodyPr wrap="square" lIns="53988" rIns="53988" rtlCol="0">
            <a:spAutoFit/>
          </a:bodyPr>
          <a:lstStyle/>
          <a:p>
            <a:pPr lvl="0" algn="ctr" defTabSz="1371326">
              <a:defRPr/>
            </a:pPr>
            <a:r>
              <a:rPr lang="en-GB" sz="1650" kern="0" dirty="0">
                <a:solidFill>
                  <a:srgbClr val="4B4B4B"/>
                </a:solidFill>
              </a:rPr>
              <a:t>Use case description 4</a:t>
            </a:r>
          </a:p>
        </p:txBody>
      </p:sp>
      <p:sp>
        <p:nvSpPr>
          <p:cNvPr id="187" name="Rechteck 18">
            <a:extLst>
              <a:ext uri="{FF2B5EF4-FFF2-40B4-BE49-F238E27FC236}">
                <a16:creationId xmlns:a16="http://schemas.microsoft.com/office/drawing/2014/main" id="{D8151708-CE93-46EB-8F13-A37F19A4F152}"/>
              </a:ext>
            </a:extLst>
          </p:cNvPr>
          <p:cNvSpPr/>
          <p:nvPr/>
        </p:nvSpPr>
        <p:spPr>
          <a:xfrm>
            <a:off x="4262444" y="4752636"/>
            <a:ext cx="2937790" cy="489092"/>
          </a:xfrm>
          <a:prstGeom prst="rect">
            <a:avLst/>
          </a:prstGeom>
          <a:solidFill>
            <a:srgbClr val="B4C800">
              <a:lumMod val="5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ket niche 1</a:t>
            </a:r>
          </a:p>
        </p:txBody>
      </p:sp>
      <p:sp>
        <p:nvSpPr>
          <p:cNvPr id="186" name="Rechteck 17">
            <a:extLst>
              <a:ext uri="{FF2B5EF4-FFF2-40B4-BE49-F238E27FC236}">
                <a16:creationId xmlns:a16="http://schemas.microsoft.com/office/drawing/2014/main" id="{9482A306-6EEE-7CA4-9F75-9FF400D10164}"/>
              </a:ext>
            </a:extLst>
          </p:cNvPr>
          <p:cNvSpPr/>
          <p:nvPr/>
        </p:nvSpPr>
        <p:spPr>
          <a:xfrm>
            <a:off x="7234186" y="4763048"/>
            <a:ext cx="3129013" cy="489539"/>
          </a:xfrm>
          <a:prstGeom prst="rect">
            <a:avLst/>
          </a:prstGeom>
          <a:solidFill>
            <a:srgbClr val="B4C800">
              <a:lumMod val="5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lvl="0" algn="ctr" defTabSz="1632426">
              <a:defRPr/>
            </a:pPr>
            <a:r>
              <a:rPr lang="en-GB" kern="0" dirty="0">
                <a:solidFill>
                  <a:srgbClr val="FFFFFF"/>
                </a:solidFill>
              </a:rPr>
              <a:t>Market niche 2</a:t>
            </a:r>
          </a:p>
        </p:txBody>
      </p:sp>
      <p:sp>
        <p:nvSpPr>
          <p:cNvPr id="217" name="Rechteck 107">
            <a:extLst>
              <a:ext uri="{FF2B5EF4-FFF2-40B4-BE49-F238E27FC236}">
                <a16:creationId xmlns:a16="http://schemas.microsoft.com/office/drawing/2014/main" id="{86EF35B1-CDE2-679D-1DC5-4B8F69033414}"/>
              </a:ext>
            </a:extLst>
          </p:cNvPr>
          <p:cNvSpPr/>
          <p:nvPr/>
        </p:nvSpPr>
        <p:spPr>
          <a:xfrm>
            <a:off x="13674714" y="4768598"/>
            <a:ext cx="3286277" cy="489539"/>
          </a:xfrm>
          <a:prstGeom prst="rect">
            <a:avLst/>
          </a:prstGeom>
          <a:solidFill>
            <a:srgbClr val="B4C800">
              <a:lumMod val="5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lvl="0" algn="ctr" defTabSz="1632426">
              <a:defRPr/>
            </a:pPr>
            <a:r>
              <a:rPr lang="en-GB" kern="0" dirty="0">
                <a:solidFill>
                  <a:srgbClr val="FFFFFF"/>
                </a:solidFill>
              </a:rPr>
              <a:t>Market niche 4</a:t>
            </a:r>
          </a:p>
        </p:txBody>
      </p:sp>
      <p:sp>
        <p:nvSpPr>
          <p:cNvPr id="35" name="Textfeld 104">
            <a:extLst>
              <a:ext uri="{FF2B5EF4-FFF2-40B4-BE49-F238E27FC236}">
                <a16:creationId xmlns:a16="http://schemas.microsoft.com/office/drawing/2014/main" id="{AE0E9783-D7DC-7A58-2939-E293B21ABA31}"/>
              </a:ext>
            </a:extLst>
          </p:cNvPr>
          <p:cNvSpPr txBox="1"/>
          <p:nvPr/>
        </p:nvSpPr>
        <p:spPr>
          <a:xfrm>
            <a:off x="10516667" y="5389736"/>
            <a:ext cx="3054797" cy="346249"/>
          </a:xfrm>
          <a:prstGeom prst="rect">
            <a:avLst/>
          </a:prstGeom>
          <a:noFill/>
        </p:spPr>
        <p:txBody>
          <a:bodyPr wrap="square" lIns="53988" rIns="53988" rtlCol="0">
            <a:spAutoFit/>
          </a:bodyPr>
          <a:lstStyle/>
          <a:p>
            <a:pPr lvl="0" algn="ctr" defTabSz="1371326">
              <a:defRPr/>
            </a:pPr>
            <a:r>
              <a:rPr lang="en-GB" sz="1650" kern="0" dirty="0">
                <a:solidFill>
                  <a:srgbClr val="4B4B4B"/>
                </a:solidFill>
              </a:rPr>
              <a:t>Use case description 3</a:t>
            </a:r>
          </a:p>
        </p:txBody>
      </p:sp>
      <p:sp>
        <p:nvSpPr>
          <p:cNvPr id="36" name="Textfeld 93">
            <a:extLst>
              <a:ext uri="{FF2B5EF4-FFF2-40B4-BE49-F238E27FC236}">
                <a16:creationId xmlns:a16="http://schemas.microsoft.com/office/drawing/2014/main" id="{0C588386-2350-F80B-959F-C54AABB464F4}"/>
              </a:ext>
            </a:extLst>
          </p:cNvPr>
          <p:cNvSpPr txBox="1"/>
          <p:nvPr/>
        </p:nvSpPr>
        <p:spPr>
          <a:xfrm>
            <a:off x="7200234" y="5384840"/>
            <a:ext cx="3121985" cy="346249"/>
          </a:xfrm>
          <a:prstGeom prst="rect">
            <a:avLst/>
          </a:prstGeom>
          <a:noFill/>
        </p:spPr>
        <p:txBody>
          <a:bodyPr wrap="square" lIns="53988" rIns="53988" rtlCol="0">
            <a:spAutoFit/>
          </a:bodyPr>
          <a:lstStyle/>
          <a:p>
            <a:pPr lvl="0" algn="ctr" defTabSz="1371326">
              <a:defRPr/>
            </a:pPr>
            <a:r>
              <a:rPr lang="en-GB" sz="1650" kern="0" dirty="0">
                <a:solidFill>
                  <a:srgbClr val="4B4B4B"/>
                </a:solidFill>
              </a:rPr>
              <a:t>Use case description 2</a:t>
            </a:r>
          </a:p>
        </p:txBody>
      </p:sp>
      <p:sp>
        <p:nvSpPr>
          <p:cNvPr id="37" name="Rechteck 78">
            <a:extLst>
              <a:ext uri="{FF2B5EF4-FFF2-40B4-BE49-F238E27FC236}">
                <a16:creationId xmlns:a16="http://schemas.microsoft.com/office/drawing/2014/main" id="{53862FA2-5D99-7D85-D0F5-8ECF123169EC}"/>
              </a:ext>
            </a:extLst>
          </p:cNvPr>
          <p:cNvSpPr/>
          <p:nvPr/>
        </p:nvSpPr>
        <p:spPr>
          <a:xfrm>
            <a:off x="7272960" y="2726533"/>
            <a:ext cx="3090240" cy="431948"/>
          </a:xfrm>
          <a:prstGeom prst="rect">
            <a:avLst/>
          </a:prstGeom>
          <a:solidFill>
            <a:srgbClr val="0A73B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1632426">
              <a:defRPr/>
            </a:pPr>
            <a:r>
              <a:rPr lang="en-GB" kern="0" dirty="0">
                <a:solidFill>
                  <a:srgbClr val="FFFFFF"/>
                </a:solidFill>
              </a:rPr>
              <a:t>Market segment 2</a:t>
            </a:r>
          </a:p>
        </p:txBody>
      </p:sp>
      <p:sp>
        <p:nvSpPr>
          <p:cNvPr id="38" name="Rechteck 79">
            <a:extLst>
              <a:ext uri="{FF2B5EF4-FFF2-40B4-BE49-F238E27FC236}">
                <a16:creationId xmlns:a16="http://schemas.microsoft.com/office/drawing/2014/main" id="{209D493C-F55D-2DEC-33BA-B29D3B333932}"/>
              </a:ext>
            </a:extLst>
          </p:cNvPr>
          <p:cNvSpPr/>
          <p:nvPr/>
        </p:nvSpPr>
        <p:spPr>
          <a:xfrm>
            <a:off x="13629410" y="2726533"/>
            <a:ext cx="3331582" cy="431948"/>
          </a:xfrm>
          <a:prstGeom prst="rect">
            <a:avLst/>
          </a:prstGeom>
          <a:solidFill>
            <a:srgbClr val="0A73B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1632426">
              <a:defRPr/>
            </a:pPr>
            <a:r>
              <a:rPr lang="en-GB" kern="0" dirty="0">
                <a:solidFill>
                  <a:srgbClr val="FFFFFF"/>
                </a:solidFill>
              </a:rPr>
              <a:t>Market segment 4</a:t>
            </a:r>
          </a:p>
        </p:txBody>
      </p:sp>
      <p:sp>
        <p:nvSpPr>
          <p:cNvPr id="7" name="Rechteck 18">
            <a:extLst>
              <a:ext uri="{FF2B5EF4-FFF2-40B4-BE49-F238E27FC236}">
                <a16:creationId xmlns:a16="http://schemas.microsoft.com/office/drawing/2014/main" id="{AF1D6D72-CCF1-B9CD-2609-538EEA5E448F}"/>
              </a:ext>
            </a:extLst>
          </p:cNvPr>
          <p:cNvSpPr/>
          <p:nvPr/>
        </p:nvSpPr>
        <p:spPr>
          <a:xfrm>
            <a:off x="1075092" y="4752636"/>
            <a:ext cx="2937790" cy="489092"/>
          </a:xfrm>
          <a:prstGeom prst="rect">
            <a:avLst/>
          </a:prstGeom>
          <a:noFill/>
          <a:ln w="2540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defTabSz="1632426"/>
            <a:r>
              <a:rPr lang="en-GB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</a:rPr>
              <a:t>Product/Service name</a:t>
            </a:r>
          </a:p>
        </p:txBody>
      </p:sp>
    </p:spTree>
    <p:extLst>
      <p:ext uri="{BB962C8B-B14F-4D97-AF65-F5344CB8AC3E}">
        <p14:creationId xmlns:p14="http://schemas.microsoft.com/office/powerpoint/2010/main" val="358255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-135196" y="0"/>
            <a:ext cx="9279196" cy="10287000"/>
            <a:chOff x="0" y="0"/>
            <a:chExt cx="3957966" cy="2709333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3957966" cy="2709333"/>
            </a:xfrm>
            <a:custGeom>
              <a:avLst/>
              <a:gdLst/>
              <a:ahLst/>
              <a:cxnLst/>
              <a:rect l="l" t="t" r="r" b="b"/>
              <a:pathLst>
                <a:path w="3957966" h="2709333">
                  <a:moveTo>
                    <a:pt x="51517" y="0"/>
                  </a:moveTo>
                  <a:lnTo>
                    <a:pt x="3906449" y="0"/>
                  </a:lnTo>
                  <a:cubicBezTo>
                    <a:pt x="3920112" y="0"/>
                    <a:pt x="3933216" y="5428"/>
                    <a:pt x="3942877" y="15089"/>
                  </a:cubicBezTo>
                  <a:cubicBezTo>
                    <a:pt x="3952539" y="24750"/>
                    <a:pt x="3957966" y="37854"/>
                    <a:pt x="3957966" y="51517"/>
                  </a:cubicBezTo>
                  <a:lnTo>
                    <a:pt x="3957966" y="2657816"/>
                  </a:lnTo>
                  <a:cubicBezTo>
                    <a:pt x="3957966" y="2686268"/>
                    <a:pt x="3934901" y="2709333"/>
                    <a:pt x="3906449" y="2709333"/>
                  </a:cubicBezTo>
                  <a:lnTo>
                    <a:pt x="51517" y="2709333"/>
                  </a:lnTo>
                  <a:cubicBezTo>
                    <a:pt x="23065" y="2709333"/>
                    <a:pt x="0" y="2686268"/>
                    <a:pt x="0" y="2657816"/>
                  </a:cubicBezTo>
                  <a:lnTo>
                    <a:pt x="0" y="51517"/>
                  </a:lnTo>
                  <a:cubicBezTo>
                    <a:pt x="0" y="23065"/>
                    <a:pt x="23065" y="0"/>
                    <a:pt x="51517" y="0"/>
                  </a:cubicBezTo>
                  <a:close/>
                </a:path>
              </a:pathLst>
            </a:custGeom>
            <a:solidFill>
              <a:srgbClr val="CAC0F6"/>
            </a:solidFill>
          </p:spPr>
          <p:txBody>
            <a:bodyPr/>
            <a:lstStyle/>
            <a:p>
              <a:endParaRPr lang="pl-PL" sz="1400"/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3957966" cy="274743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60"/>
                </a:lnSpc>
              </a:pPr>
              <a:endParaRPr sz="1400"/>
            </a:p>
          </p:txBody>
        </p:sp>
      </p:grpSp>
      <p:sp>
        <p:nvSpPr>
          <p:cNvPr id="16" name="Freeform 7">
            <a:extLst>
              <a:ext uri="{FF2B5EF4-FFF2-40B4-BE49-F238E27FC236}">
                <a16:creationId xmlns:a16="http://schemas.microsoft.com/office/drawing/2014/main" id="{E624FB3A-714F-46AA-B1BF-A4A370CBC559}"/>
              </a:ext>
            </a:extLst>
          </p:cNvPr>
          <p:cNvSpPr/>
          <p:nvPr/>
        </p:nvSpPr>
        <p:spPr>
          <a:xfrm>
            <a:off x="12221818" y="9040070"/>
            <a:ext cx="5037484" cy="850092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pl-PL" sz="1400"/>
          </a:p>
        </p:txBody>
      </p:sp>
      <p:sp>
        <p:nvSpPr>
          <p:cNvPr id="17" name="Freeform 8">
            <a:extLst>
              <a:ext uri="{FF2B5EF4-FFF2-40B4-BE49-F238E27FC236}">
                <a16:creationId xmlns:a16="http://schemas.microsoft.com/office/drawing/2014/main" id="{E836C171-1312-41B2-A9EF-15E40752FD2E}"/>
              </a:ext>
            </a:extLst>
          </p:cNvPr>
          <p:cNvSpPr/>
          <p:nvPr/>
        </p:nvSpPr>
        <p:spPr>
          <a:xfrm>
            <a:off x="1028700" y="9040071"/>
            <a:ext cx="2257552" cy="951610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pl-PL" sz="1400"/>
          </a:p>
        </p:txBody>
      </p:sp>
      <p:sp>
        <p:nvSpPr>
          <p:cNvPr id="20" name="Google Shape;827;p54">
            <a:extLst>
              <a:ext uri="{FF2B5EF4-FFF2-40B4-BE49-F238E27FC236}">
                <a16:creationId xmlns:a16="http://schemas.microsoft.com/office/drawing/2014/main" id="{C74A719F-2AD3-480C-9D9D-A118D61E1BAA}"/>
              </a:ext>
            </a:extLst>
          </p:cNvPr>
          <p:cNvSpPr txBox="1">
            <a:spLocks/>
          </p:cNvSpPr>
          <p:nvPr/>
        </p:nvSpPr>
        <p:spPr>
          <a:xfrm>
            <a:off x="646604" y="2695966"/>
            <a:ext cx="7580400" cy="14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defTabSz="1828800">
              <a:buClr>
                <a:srgbClr val="36338C"/>
              </a:buClr>
              <a:defRPr/>
            </a:pPr>
            <a:r>
              <a:rPr lang="en-GB" sz="6200" kern="0">
                <a:solidFill>
                  <a:srgbClr val="36338C"/>
                </a:solidFill>
              </a:rPr>
              <a:t>Contact Us!</a:t>
            </a:r>
          </a:p>
        </p:txBody>
      </p:sp>
      <p:sp>
        <p:nvSpPr>
          <p:cNvPr id="21" name="Google Shape;828;p54">
            <a:extLst>
              <a:ext uri="{FF2B5EF4-FFF2-40B4-BE49-F238E27FC236}">
                <a16:creationId xmlns:a16="http://schemas.microsoft.com/office/drawing/2014/main" id="{CA050A27-37BC-4F4F-89D1-86DFCA9BB2DB}"/>
              </a:ext>
            </a:extLst>
          </p:cNvPr>
          <p:cNvSpPr txBox="1">
            <a:spLocks/>
          </p:cNvSpPr>
          <p:nvPr/>
        </p:nvSpPr>
        <p:spPr>
          <a:xfrm>
            <a:off x="1259504" y="4562266"/>
            <a:ext cx="6354600" cy="25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 defTabSz="1828800">
              <a:buClr>
                <a:srgbClr val="161620"/>
              </a:buClr>
              <a:defRPr/>
            </a:pPr>
            <a:r>
              <a:rPr lang="en-US" sz="3200" kern="0" dirty="0">
                <a:solidFill>
                  <a:srgbClr val="36338C"/>
                </a:solidFill>
              </a:rPr>
              <a:t>Do you have any questions?</a:t>
            </a:r>
          </a:p>
          <a:p>
            <a:pPr marL="0" indent="0" defTabSz="1828800">
              <a:buClr>
                <a:srgbClr val="161620"/>
              </a:buClr>
              <a:defRPr/>
            </a:pPr>
            <a:endParaRPr lang="en-US" sz="3200" kern="0" dirty="0">
              <a:solidFill>
                <a:srgbClr val="36338C"/>
              </a:solidFill>
            </a:endParaRPr>
          </a:p>
          <a:p>
            <a:pPr marL="0" indent="0" defTabSz="1828800">
              <a:buClr>
                <a:srgbClr val="161620"/>
              </a:buClr>
              <a:defRPr/>
            </a:pPr>
            <a:endParaRPr lang="en-US" sz="3200" kern="0" dirty="0">
              <a:solidFill>
                <a:srgbClr val="36338C"/>
              </a:solidFill>
            </a:endParaRPr>
          </a:p>
          <a:p>
            <a:pPr marL="0" indent="0" defTabSz="1828800">
              <a:buClr>
                <a:srgbClr val="161620"/>
              </a:buClr>
              <a:defRPr/>
            </a:pPr>
            <a:endParaRPr lang="en-US" sz="3200" kern="0" dirty="0">
              <a:solidFill>
                <a:srgbClr val="36338C"/>
              </a:solidFill>
            </a:endParaRPr>
          </a:p>
          <a:p>
            <a:pPr marL="0" indent="0" defTabSz="1828800">
              <a:buClr>
                <a:srgbClr val="161620"/>
              </a:buClr>
              <a:defRPr/>
            </a:pPr>
            <a:r>
              <a:rPr lang="en-US" sz="3400" kern="0" dirty="0">
                <a:solidFill>
                  <a:srgbClr val="36338C"/>
                </a:solidFill>
              </a:rPr>
              <a:t>teamup@eitfood.eu</a:t>
            </a:r>
          </a:p>
        </p:txBody>
      </p:sp>
      <p:sp>
        <p:nvSpPr>
          <p:cNvPr id="22" name="Freeform 15">
            <a:extLst>
              <a:ext uri="{FF2B5EF4-FFF2-40B4-BE49-F238E27FC236}">
                <a16:creationId xmlns:a16="http://schemas.microsoft.com/office/drawing/2014/main" id="{2848E517-CCE1-4392-AB25-272EC7491AA4}"/>
              </a:ext>
            </a:extLst>
          </p:cNvPr>
          <p:cNvSpPr/>
          <p:nvPr/>
        </p:nvSpPr>
        <p:spPr>
          <a:xfrm>
            <a:off x="11803986" y="2987828"/>
            <a:ext cx="3758304" cy="3758304"/>
          </a:xfrm>
          <a:custGeom>
            <a:avLst/>
            <a:gdLst/>
            <a:ahLst/>
            <a:cxnLst/>
            <a:rect l="l" t="t" r="r" b="b"/>
            <a:pathLst>
              <a:path w="1879152" h="1879152">
                <a:moveTo>
                  <a:pt x="0" y="0"/>
                </a:moveTo>
                <a:lnTo>
                  <a:pt x="1879153" y="0"/>
                </a:lnTo>
                <a:lnTo>
                  <a:pt x="1879153" y="1879152"/>
                </a:lnTo>
                <a:lnTo>
                  <a:pt x="0" y="187915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 sz="3600"/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5&quot;&gt;&lt;elem m_fUsage=&quot;3.81178040761418701621E+00&quot;&gt;&lt;m_msothmcolidx val=&quot;0&quot;/&gt;&lt;m_rgb r=&quot;37&quot; g=&quot;AA&quot; b=&quot;DC&quot;/&gt;&lt;/elem&gt;&lt;elem m_fUsage=&quot;2.12493167752346989730E+00&quot;&gt;&lt;m_msothmcolidx val=&quot;0&quot;/&gt;&lt;m_rgb r=&quot;1F&quot; g=&quot;84&quot; b=&quot;B0&quot;/&gt;&lt;/elem&gt;&lt;elem m_fUsage=&quot;1.99587291449175907587E+00&quot;&gt;&lt;m_msothmcolidx val=&quot;0&quot;/&gt;&lt;m_rgb r=&quot;B6&quot; g=&quot;CA&quot; b=&quot;00&quot;/&gt;&lt;/elem&gt;&lt;elem m_fUsage=&quot;1.41412783157099997133E+00&quot;&gt;&lt;m_msothmcolidx val=&quot;0&quot;/&gt;&lt;m_rgb r=&quot;0A&quot; g=&quot;73&quot; b=&quot;B4&quot;/&gt;&lt;/elem&gt;&lt;elem m_fUsage=&quot;7.17897987691853145531E-02&quot;&gt;&lt;m_msothmcolidx val=&quot;0&quot;/&gt;&lt;m_rgb r=&quot;5A&quot; g=&quot;64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nagement System Planner by Slidesgo">
  <a:themeElements>
    <a:clrScheme name="Simple Light">
      <a:dk1>
        <a:srgbClr val="36338C"/>
      </a:dk1>
      <a:lt1>
        <a:srgbClr val="DAE3F2"/>
      </a:lt1>
      <a:dk2>
        <a:srgbClr val="161620"/>
      </a:dk2>
      <a:lt2>
        <a:srgbClr val="FFFFFF"/>
      </a:lt2>
      <a:accent1>
        <a:srgbClr val="C7CEDE"/>
      </a:accent1>
      <a:accent2>
        <a:srgbClr val="7966E4"/>
      </a:accent2>
      <a:accent3>
        <a:srgbClr val="F0F5FD"/>
      </a:accent3>
      <a:accent4>
        <a:srgbClr val="F1F4FD"/>
      </a:accent4>
      <a:accent5>
        <a:srgbClr val="36338C"/>
      </a:accent5>
      <a:accent6>
        <a:srgbClr val="DAE3F2"/>
      </a:accent6>
      <a:hlink>
        <a:srgbClr val="36338C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40</TotalTime>
  <Words>125</Words>
  <Application>Microsoft Office PowerPoint</Application>
  <PresentationFormat>Personalizado</PresentationFormat>
  <Paragraphs>36</Paragraphs>
  <Slides>4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6" baseType="lpstr">
      <vt:lpstr>Titillium Web Bold</vt:lpstr>
      <vt:lpstr>Aptos</vt:lpstr>
      <vt:lpstr>Raleway Black</vt:lpstr>
      <vt:lpstr>Libre Franklin</vt:lpstr>
      <vt:lpstr>Open Sans</vt:lpstr>
      <vt:lpstr>Poppins ExtraBold</vt:lpstr>
      <vt:lpstr>Titillium Web</vt:lpstr>
      <vt:lpstr>Calibri</vt:lpstr>
      <vt:lpstr>Arial</vt:lpstr>
      <vt:lpstr>Office Theme</vt:lpstr>
      <vt:lpstr>Management System Planner by Slidesgo</vt:lpstr>
      <vt:lpstr>Diapositiva de think-cell</vt:lpstr>
      <vt:lpstr>Describe your product/service/technology and the wider market targeted</vt:lpstr>
      <vt:lpstr>Identify up to six market segments along with their corresponding sub-segments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Up</dc:title>
  <dc:creator>Paulina Nowotka</dc:creator>
  <cp:lastModifiedBy>Vikesh Chugani</cp:lastModifiedBy>
  <cp:revision>39</cp:revision>
  <dcterms:created xsi:type="dcterms:W3CDTF">2006-08-16T00:00:00Z</dcterms:created>
  <dcterms:modified xsi:type="dcterms:W3CDTF">2025-08-21T10:54:08Z</dcterms:modified>
  <dc:identifier>DAGIHpOa55U</dc:identifier>
</cp:coreProperties>
</file>